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 id="2147483821" r:id="rId3"/>
  </p:sldMasterIdLst>
  <p:notesMasterIdLst>
    <p:notesMasterId r:id="rId12"/>
  </p:notesMasterIdLst>
  <p:sldIdLst>
    <p:sldId id="394" r:id="rId4"/>
    <p:sldId id="381" r:id="rId5"/>
    <p:sldId id="395" r:id="rId6"/>
    <p:sldId id="386" r:id="rId7"/>
    <p:sldId id="391" r:id="rId8"/>
    <p:sldId id="388" r:id="rId9"/>
    <p:sldId id="389" r:id="rId10"/>
    <p:sldId id="390" r:id="rId11"/>
  </p:sldIdLst>
  <p:sldSz cx="9144000" cy="5143500" type="screen16x9"/>
  <p:notesSz cx="7315200" cy="96012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nformation Technology" initials="IT" lastIdx="2" clrIdx="0">
    <p:extLst>
      <p:ext uri="{19B8F6BF-5375-455C-9EA6-DF929625EA0E}">
        <p15:presenceInfo xmlns:p15="http://schemas.microsoft.com/office/powerpoint/2012/main" userId="Information Technolog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F6F6"/>
    <a:srgbClr val="F1F1F1"/>
    <a:srgbClr val="F8F8F8"/>
    <a:srgbClr val="C0504D"/>
    <a:srgbClr val="C25654"/>
    <a:srgbClr val="9BBB59"/>
    <a:srgbClr val="B2C1DB"/>
    <a:srgbClr val="C0CCE2"/>
    <a:srgbClr val="215968"/>
    <a:srgbClr val="E5E5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112" autoAdjust="0"/>
    <p:restoredTop sz="95411" autoAdjust="0"/>
  </p:normalViewPr>
  <p:slideViewPr>
    <p:cSldViewPr snapToGrid="0">
      <p:cViewPr varScale="1">
        <p:scale>
          <a:sx n="147" d="100"/>
          <a:sy n="147" d="100"/>
        </p:scale>
        <p:origin x="114" y="186"/>
      </p:cViewPr>
      <p:guideLst/>
    </p:cSldViewPr>
  </p:slideViewPr>
  <p:outlineViewPr>
    <p:cViewPr>
      <p:scale>
        <a:sx n="33" d="100"/>
        <a:sy n="33" d="100"/>
      </p:scale>
      <p:origin x="0" y="-10963"/>
    </p:cViewPr>
  </p:outlineViewPr>
  <p:notesTextViewPr>
    <p:cViewPr>
      <p:scale>
        <a:sx n="1" d="1"/>
        <a:sy n="1" d="1"/>
      </p:scale>
      <p:origin x="0" y="0"/>
    </p:cViewPr>
  </p:notesTextViewPr>
  <p:sorterViewPr>
    <p:cViewPr varScale="1">
      <p:scale>
        <a:sx n="100" d="100"/>
        <a:sy n="100" d="100"/>
      </p:scale>
      <p:origin x="0" y="-3293"/>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commentAuthors" Target="commentAuthor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99F4031E-1854-4A48-987C-84C8FD1D4E33}" type="datetimeFigureOut">
              <a:rPr lang="en-US" smtClean="0"/>
              <a:t>2/7/2017</a:t>
            </a:fld>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C306C8AD-6BFC-4A9A-91F4-47FE7798A3F0}" type="slidenum">
              <a:rPr lang="en-US" smtClean="0"/>
              <a:t>‹#›</a:t>
            </a:fld>
            <a:endParaRPr lang="en-US" dirty="0"/>
          </a:p>
        </p:txBody>
      </p:sp>
    </p:spTree>
    <p:extLst>
      <p:ext uri="{BB962C8B-B14F-4D97-AF65-F5344CB8AC3E}">
        <p14:creationId xmlns:p14="http://schemas.microsoft.com/office/powerpoint/2010/main" val="1559357761"/>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839694" rtl="0" eaLnBrk="1" fontAlgn="auto" latinLnBrk="0" hangingPunct="1">
              <a:lnSpc>
                <a:spcPct val="100000"/>
              </a:lnSpc>
              <a:spcBef>
                <a:spcPts val="0"/>
              </a:spcBef>
              <a:spcAft>
                <a:spcPts val="0"/>
              </a:spcAft>
              <a:buClrTx/>
              <a:buSzTx/>
              <a:buFontTx/>
              <a:buNone/>
              <a:tabLst/>
              <a:defRPr/>
            </a:pPr>
            <a:r>
              <a:rPr lang="en-US" sz="1100" dirty="0">
                <a:latin typeface="Calibri Light" panose="020F0302020204030204" pitchFamily="34" charset="0"/>
              </a:rPr>
              <a:t>These DR businesses tend to earn revenues through subscription fees (i.e. payments from the utility linked to the provision of the DR management software, etc.) or brokerage fees (i.e. keeping a share of the revenue earned from the sale of the DR resource to the utility). </a:t>
            </a:r>
          </a:p>
          <a:p>
            <a:endParaRPr lang="en-US" dirty="0"/>
          </a:p>
        </p:txBody>
      </p:sp>
      <p:sp>
        <p:nvSpPr>
          <p:cNvPr id="4" name="Slide Number Placeholder 3"/>
          <p:cNvSpPr>
            <a:spLocks noGrp="1"/>
          </p:cNvSpPr>
          <p:nvPr>
            <p:ph type="sldNum" sz="quarter" idx="10"/>
          </p:nvPr>
        </p:nvSpPr>
        <p:spPr/>
        <p:txBody>
          <a:bodyPr/>
          <a:lstStyle/>
          <a:p>
            <a:pPr marL="0" marR="0" lvl="0" indent="0" algn="r" defTabSz="914342" rtl="0" eaLnBrk="1" fontAlgn="auto" latinLnBrk="0" hangingPunct="1">
              <a:lnSpc>
                <a:spcPct val="100000"/>
              </a:lnSpc>
              <a:spcBef>
                <a:spcPts val="0"/>
              </a:spcBef>
              <a:spcAft>
                <a:spcPts val="0"/>
              </a:spcAft>
              <a:buClr>
                <a:prstClr val="black"/>
              </a:buClr>
              <a:buSzTx/>
              <a:buFont typeface="Arial" pitchFamily="34" charset="0"/>
              <a:buNone/>
              <a:tabLst/>
              <a:defRPr/>
            </a:pPr>
            <a:fld id="{5B1B492F-E6BA-4409-9212-AB9CAE5B4C56}"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342" rtl="0" eaLnBrk="1" fontAlgn="auto" latinLnBrk="0" hangingPunct="1">
                <a:lnSpc>
                  <a:spcPct val="100000"/>
                </a:lnSpc>
                <a:spcBef>
                  <a:spcPts val="0"/>
                </a:spcBef>
                <a:spcAft>
                  <a:spcPts val="0"/>
                </a:spcAft>
                <a:buClr>
                  <a:prstClr val="black"/>
                </a:buClr>
                <a:buSzTx/>
                <a:buFont typeface="Arial" pitchFamily="34" charset="0"/>
                <a:buNone/>
                <a:tabLst/>
                <a:defRPr/>
              </a:pPr>
              <a:t>4</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9487656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42" rtl="0" eaLnBrk="1" fontAlgn="auto" latinLnBrk="0" hangingPunct="1">
              <a:lnSpc>
                <a:spcPct val="100000"/>
              </a:lnSpc>
              <a:spcBef>
                <a:spcPts val="0"/>
              </a:spcBef>
              <a:spcAft>
                <a:spcPts val="0"/>
              </a:spcAft>
              <a:buClr>
                <a:prstClr val="black"/>
              </a:buClr>
              <a:buSzTx/>
              <a:buFont typeface="Arial" pitchFamily="34" charset="0"/>
              <a:buNone/>
              <a:tabLst/>
              <a:defRPr/>
            </a:pPr>
            <a:fld id="{5B1B492F-E6BA-4409-9212-AB9CAE5B4C56}"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342" rtl="0" eaLnBrk="1" fontAlgn="auto" latinLnBrk="0" hangingPunct="1">
                <a:lnSpc>
                  <a:spcPct val="100000"/>
                </a:lnSpc>
                <a:spcBef>
                  <a:spcPts val="0"/>
                </a:spcBef>
                <a:spcAft>
                  <a:spcPts val="0"/>
                </a:spcAft>
                <a:buClr>
                  <a:prstClr val="black"/>
                </a:buClr>
                <a:buSzTx/>
                <a:buFont typeface="Arial" pitchFamily="34" charset="0"/>
                <a:buNone/>
                <a:tabLst/>
                <a:defRPr/>
              </a:pPr>
              <a:t>6</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99073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42" rtl="0" eaLnBrk="1" fontAlgn="auto" latinLnBrk="0" hangingPunct="1">
              <a:lnSpc>
                <a:spcPct val="100000"/>
              </a:lnSpc>
              <a:spcBef>
                <a:spcPts val="0"/>
              </a:spcBef>
              <a:spcAft>
                <a:spcPts val="0"/>
              </a:spcAft>
              <a:buClr>
                <a:prstClr val="black"/>
              </a:buClr>
              <a:buSzTx/>
              <a:buFont typeface="Arial" pitchFamily="34" charset="0"/>
              <a:buNone/>
              <a:tabLst/>
              <a:defRPr/>
            </a:pPr>
            <a:fld id="{5B1B492F-E6BA-4409-9212-AB9CAE5B4C56}"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342" rtl="0" eaLnBrk="1" fontAlgn="auto" latinLnBrk="0" hangingPunct="1">
                <a:lnSpc>
                  <a:spcPct val="100000"/>
                </a:lnSpc>
                <a:spcBef>
                  <a:spcPts val="0"/>
                </a:spcBef>
                <a:spcAft>
                  <a:spcPts val="0"/>
                </a:spcAft>
                <a:buClr>
                  <a:prstClr val="black"/>
                </a:buClr>
                <a:buSzTx/>
                <a:buFont typeface="Arial" pitchFamily="34" charset="0"/>
                <a:buNone/>
                <a:tabLst/>
                <a:defRPr/>
              </a:pPr>
              <a:t>7</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764736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3197057"/>
            <a:ext cx="5657850" cy="533311"/>
          </a:xfrm>
          <a:prstGeom prst="rect">
            <a:avLst/>
          </a:prstGeom>
        </p:spPr>
        <p:txBody>
          <a:bodyPr>
            <a:normAutofit/>
          </a:bodyPr>
          <a:lstStyle>
            <a:lvl1pPr>
              <a:defRPr sz="2100" b="1" cap="all" baseline="0">
                <a:latin typeface="+mj-lt"/>
              </a:defRPr>
            </a:lvl1pPr>
          </a:lstStyle>
          <a:p>
            <a:r>
              <a:rPr lang="en-US" dirty="0"/>
              <a:t>Main title goes here</a:t>
            </a:r>
          </a:p>
        </p:txBody>
      </p:sp>
      <p:grpSp>
        <p:nvGrpSpPr>
          <p:cNvPr id="7" name="Group 6"/>
          <p:cNvGrpSpPr/>
          <p:nvPr userDrawn="1"/>
        </p:nvGrpSpPr>
        <p:grpSpPr>
          <a:xfrm>
            <a:off x="6686551" y="685800"/>
            <a:ext cx="2078831" cy="3531692"/>
            <a:chOff x="7154862" y="296862"/>
            <a:chExt cx="3695700" cy="6278563"/>
          </a:xfrm>
        </p:grpSpPr>
        <p:pic>
          <p:nvPicPr>
            <p:cNvPr id="8" name="Picture 5" descr="C:\Users\Wengchucon\Desktop\bulb bas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51762" y="4762500"/>
              <a:ext cx="2446338" cy="18129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C:\Users\Wengchucon\Desktop\detail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4862" y="296862"/>
              <a:ext cx="3695700" cy="4503738"/>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Rectangle 9"/>
          <p:cNvSpPr/>
          <p:nvPr userDrawn="1"/>
        </p:nvSpPr>
        <p:spPr>
          <a:xfrm>
            <a:off x="457200" y="4171950"/>
            <a:ext cx="5657850" cy="57150"/>
          </a:xfrm>
          <a:prstGeom prst="rect">
            <a:avLst/>
          </a:prstGeom>
          <a:solidFill>
            <a:srgbClr val="FCB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349" dirty="0">
              <a:solidFill>
                <a:prstClr val="white"/>
              </a:solidFill>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2901" y="400051"/>
            <a:ext cx="2481511" cy="599122"/>
          </a:xfrm>
          <a:prstGeom prst="rect">
            <a:avLst/>
          </a:prstGeom>
        </p:spPr>
      </p:pic>
      <p:sp>
        <p:nvSpPr>
          <p:cNvPr id="15" name="Text Placeholder 14"/>
          <p:cNvSpPr>
            <a:spLocks noGrp="1"/>
          </p:cNvSpPr>
          <p:nvPr>
            <p:ph type="body" sz="quarter" idx="10" hasCustomPrompt="1"/>
          </p:nvPr>
        </p:nvSpPr>
        <p:spPr>
          <a:xfrm>
            <a:off x="457200" y="3908823"/>
            <a:ext cx="5657850" cy="228838"/>
          </a:xfrm>
          <a:prstGeom prst="rect">
            <a:avLst/>
          </a:prstGeom>
        </p:spPr>
        <p:txBody>
          <a:bodyPr/>
          <a:lstStyle>
            <a:lvl1pPr marL="0" indent="0">
              <a:buNone/>
              <a:defRPr lang="en-US" sz="1200" b="1" kern="1200" cap="all" smtClean="0">
                <a:solidFill>
                  <a:schemeClr val="tx2">
                    <a:lumMod val="20000"/>
                    <a:lumOff val="80000"/>
                  </a:schemeClr>
                </a:solidFill>
                <a:latin typeface="+mj-lt"/>
                <a:cs typeface="Arial" pitchFamily="34" charset="0"/>
              </a:defRPr>
            </a:lvl1pPr>
            <a:lvl5pPr marL="1371315" indent="0">
              <a:buNone/>
              <a:defRPr/>
            </a:lvl5pPr>
          </a:lstStyle>
          <a:p>
            <a:r>
              <a:rPr lang="en-US" sz="1200" b="1" kern="1200" cap="all" dirty="0">
                <a:solidFill>
                  <a:schemeClr val="tx2">
                    <a:lumMod val="20000"/>
                    <a:lumOff val="80000"/>
                  </a:schemeClr>
                </a:solidFill>
                <a:latin typeface="Arial" pitchFamily="34" charset="0"/>
                <a:ea typeface="+mj-ea"/>
                <a:cs typeface="Arial" pitchFamily="34" charset="0"/>
              </a:rPr>
              <a:t>Month day, year</a:t>
            </a:r>
          </a:p>
        </p:txBody>
      </p:sp>
    </p:spTree>
    <p:extLst>
      <p:ext uri="{BB962C8B-B14F-4D97-AF65-F5344CB8AC3E}">
        <p14:creationId xmlns:p14="http://schemas.microsoft.com/office/powerpoint/2010/main" val="1270187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_ With Heading">
    <p:spTree>
      <p:nvGrpSpPr>
        <p:cNvPr id="1" name=""/>
        <p:cNvGrpSpPr/>
        <p:nvPr/>
      </p:nvGrpSpPr>
      <p:grpSpPr>
        <a:xfrm>
          <a:off x="0" y="0"/>
          <a:ext cx="0" cy="0"/>
          <a:chOff x="0" y="0"/>
          <a:chExt cx="0" cy="0"/>
        </a:xfrm>
      </p:grpSpPr>
      <p:sp>
        <p:nvSpPr>
          <p:cNvPr id="9" name="Content Placeholder 8"/>
          <p:cNvSpPr>
            <a:spLocks noGrp="1"/>
          </p:cNvSpPr>
          <p:nvPr>
            <p:ph sz="quarter" idx="13" hasCustomPrompt="1"/>
          </p:nvPr>
        </p:nvSpPr>
        <p:spPr bwMode="gray">
          <a:xfrm>
            <a:off x="332100" y="1216325"/>
            <a:ext cx="8477964" cy="3362875"/>
          </a:xfrm>
          <a:prstGeom prst="rect">
            <a:avLst/>
          </a:prstGeom>
        </p:spPr>
        <p:txBody>
          <a:bodyPr vert="horz" lIns="0" tIns="0" rIns="0" bIns="0" rtlCol="0">
            <a:noAutofit/>
          </a:bodyPr>
          <a:lstStyle>
            <a:lvl1pPr>
              <a:defRPr lang="en-GB" noProof="0" dirty="0" smtClean="0"/>
            </a:lvl1pPr>
            <a:lvl2pPr>
              <a:defRPr lang="en-GB" noProof="0" dirty="0" smtClean="0"/>
            </a:lvl2pPr>
            <a:lvl3pPr>
              <a:defRPr lang="en-GB" noProof="0" dirty="0" smtClean="0"/>
            </a:lvl3pPr>
            <a:lvl4pPr>
              <a:defRPr lang="en-GB" noProof="0" dirty="0" smtClean="0"/>
            </a:lvl4pPr>
            <a:lvl5pPr>
              <a:defRPr lang="en-GB" noProof="0" dirty="0" smtClean="0"/>
            </a:lvl5pPr>
            <a:lvl6pPr>
              <a:defRPr lang="en-GB" noProof="0" dirty="0" smtClean="0"/>
            </a:lvl6pPr>
            <a:lvl7pPr>
              <a:defRPr lang="en-GB" noProof="0" dirty="0" smtClean="0"/>
            </a:lvl7pPr>
            <a:lvl8pPr>
              <a:defRPr lang="en-GB" noProof="0" dirty="0" smtClean="0"/>
            </a:lvl8pPr>
            <a:lvl9pPr>
              <a:defRPr lang="en-GB" noProof="0" dirty="0"/>
            </a:lvl9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3" name="Title 2"/>
          <p:cNvSpPr>
            <a:spLocks noGrp="1"/>
          </p:cNvSpPr>
          <p:nvPr>
            <p:ph type="title" hasCustomPrompt="1"/>
          </p:nvPr>
        </p:nvSpPr>
        <p:spPr>
          <a:xfrm>
            <a:off x="332100" y="108000"/>
            <a:ext cx="8478000" cy="571500"/>
          </a:xfrm>
        </p:spPr>
        <p:txBody>
          <a:bodyPr/>
          <a:lstStyle/>
          <a:p>
            <a:r>
              <a:rPr lang="en-GB" noProof="0" dirty="0"/>
              <a:t>&lt;Insert title&gt;</a:t>
            </a:r>
          </a:p>
        </p:txBody>
      </p:sp>
    </p:spTree>
    <p:extLst>
      <p:ext uri="{BB962C8B-B14F-4D97-AF65-F5344CB8AC3E}">
        <p14:creationId xmlns:p14="http://schemas.microsoft.com/office/powerpoint/2010/main" val="37186745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_ Double Column Text">
    <p:spTree>
      <p:nvGrpSpPr>
        <p:cNvPr id="1" name=""/>
        <p:cNvGrpSpPr/>
        <p:nvPr/>
      </p:nvGrpSpPr>
      <p:grpSpPr>
        <a:xfrm>
          <a:off x="0" y="0"/>
          <a:ext cx="0" cy="0"/>
          <a:chOff x="0" y="0"/>
          <a:chExt cx="0" cy="0"/>
        </a:xfrm>
      </p:grpSpPr>
      <p:sp>
        <p:nvSpPr>
          <p:cNvPr id="9" name="Content Placeholder 8"/>
          <p:cNvSpPr>
            <a:spLocks noGrp="1"/>
          </p:cNvSpPr>
          <p:nvPr>
            <p:ph sz="quarter" idx="13" hasCustomPrompt="1"/>
          </p:nvPr>
        </p:nvSpPr>
        <p:spPr bwMode="gray">
          <a:xfrm>
            <a:off x="332100" y="953100"/>
            <a:ext cx="8477964" cy="3618000"/>
          </a:xfrm>
          <a:prstGeom prst="rect">
            <a:avLst/>
          </a:prstGeom>
        </p:spPr>
        <p:txBody>
          <a:bodyPr vert="horz" lIns="0" tIns="0" rIns="0" bIns="0" numCol="2" spcCol="360000" rtlCol="0">
            <a:noAutofit/>
          </a:bodyPr>
          <a:lstStyle>
            <a:lvl1pPr>
              <a:defRPr lang="en-GB" noProof="0" dirty="0" smtClean="0"/>
            </a:lvl1pPr>
            <a:lvl2pPr>
              <a:defRPr lang="en-GB" noProof="0" dirty="0" smtClean="0"/>
            </a:lvl2pPr>
            <a:lvl3pPr>
              <a:defRPr lang="en-GB" noProof="0" dirty="0" smtClean="0"/>
            </a:lvl3pPr>
            <a:lvl4pPr>
              <a:defRPr lang="en-GB" noProof="0" dirty="0" smtClean="0"/>
            </a:lvl4pPr>
            <a:lvl5pPr>
              <a:defRPr lang="en-GB" noProof="0" dirty="0" smtClean="0"/>
            </a:lvl5pPr>
            <a:lvl6pPr>
              <a:defRPr lang="en-GB" noProof="0" dirty="0" smtClean="0"/>
            </a:lvl6pPr>
            <a:lvl7pPr>
              <a:defRPr lang="en-GB" noProof="0" dirty="0" smtClean="0"/>
            </a:lvl7pPr>
            <a:lvl8pPr>
              <a:defRPr lang="en-GB" noProof="0" dirty="0" smtClean="0"/>
            </a:lvl8pPr>
            <a:lvl9pPr>
              <a:defRPr lang="en-GB" noProof="0" dirty="0" smtClean="0"/>
            </a:lvl9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3" name="Title 2"/>
          <p:cNvSpPr>
            <a:spLocks noGrp="1"/>
          </p:cNvSpPr>
          <p:nvPr>
            <p:ph type="title" hasCustomPrompt="1"/>
          </p:nvPr>
        </p:nvSpPr>
        <p:spPr>
          <a:xfrm>
            <a:off x="332100" y="108000"/>
            <a:ext cx="8478000" cy="571500"/>
          </a:xfrm>
        </p:spPr>
        <p:txBody>
          <a:bodyPr/>
          <a:lstStyle/>
          <a:p>
            <a:r>
              <a:rPr lang="en-GB" noProof="0" dirty="0"/>
              <a:t>&lt;Insert title&gt;</a:t>
            </a:r>
          </a:p>
        </p:txBody>
      </p:sp>
    </p:spTree>
    <p:extLst>
      <p:ext uri="{BB962C8B-B14F-4D97-AF65-F5344CB8AC3E}">
        <p14:creationId xmlns:p14="http://schemas.microsoft.com/office/powerpoint/2010/main" val="30772422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pSp>
        <p:nvGrpSpPr>
          <p:cNvPr id="12" name="Group 11"/>
          <p:cNvGrpSpPr/>
          <p:nvPr userDrawn="1"/>
        </p:nvGrpSpPr>
        <p:grpSpPr>
          <a:xfrm>
            <a:off x="0" y="1"/>
            <a:ext cx="9144000" cy="5157425"/>
            <a:chOff x="0" y="0"/>
            <a:chExt cx="12192000" cy="6876567"/>
          </a:xfrm>
        </p:grpSpPr>
        <p:sp>
          <p:nvSpPr>
            <p:cNvPr id="10" name="Rectangle 9"/>
            <p:cNvSpPr/>
            <p:nvPr userDrawn="1"/>
          </p:nvSpPr>
          <p:spPr>
            <a:xfrm>
              <a:off x="0" y="0"/>
              <a:ext cx="12192000" cy="64168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13" noProof="0" dirty="0">
                <a:solidFill>
                  <a:schemeClr val="bg1"/>
                </a:solidFill>
              </a:endParaRPr>
            </a:p>
          </p:txBody>
        </p:sp>
        <p:sp>
          <p:nvSpPr>
            <p:cNvPr id="11" name="Rectangle 10"/>
            <p:cNvSpPr/>
            <p:nvPr userDrawn="1"/>
          </p:nvSpPr>
          <p:spPr>
            <a:xfrm>
              <a:off x="0" y="6416861"/>
              <a:ext cx="12192000" cy="45970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13" noProof="0" dirty="0">
                <a:solidFill>
                  <a:schemeClr val="bg1"/>
                </a:solidFill>
              </a:endParaRPr>
            </a:p>
          </p:txBody>
        </p:sp>
      </p:grpSp>
      <p:sp>
        <p:nvSpPr>
          <p:cNvPr id="2" name="SectionTitle"/>
          <p:cNvSpPr>
            <a:spLocks noGrp="1"/>
          </p:cNvSpPr>
          <p:nvPr>
            <p:ph type="title" hasCustomPrompt="1"/>
          </p:nvPr>
        </p:nvSpPr>
        <p:spPr bwMode="gray">
          <a:xfrm>
            <a:off x="844550" y="1966465"/>
            <a:ext cx="7596738" cy="487400"/>
          </a:xfrm>
        </p:spPr>
        <p:txBody>
          <a:bodyPr anchor="b" anchorCtr="0">
            <a:noAutofit/>
          </a:bodyPr>
          <a:lstStyle>
            <a:lvl1pPr algn="l">
              <a:lnSpc>
                <a:spcPts val="3000"/>
              </a:lnSpc>
              <a:defRPr sz="2850" b="1" cap="none" baseline="0">
                <a:solidFill>
                  <a:schemeClr val="bg1"/>
                </a:solidFill>
              </a:defRPr>
            </a:lvl1pPr>
          </a:lstStyle>
          <a:p>
            <a:r>
              <a:rPr lang="en-GB" noProof="0" dirty="0"/>
              <a:t>&lt;Insert section title&gt;</a:t>
            </a:r>
          </a:p>
        </p:txBody>
      </p:sp>
      <p:sp>
        <p:nvSpPr>
          <p:cNvPr id="3" name="Text Placeholder 2"/>
          <p:cNvSpPr>
            <a:spLocks noGrp="1"/>
          </p:cNvSpPr>
          <p:nvPr>
            <p:ph type="body" idx="1" hasCustomPrompt="1"/>
          </p:nvPr>
        </p:nvSpPr>
        <p:spPr bwMode="gray">
          <a:xfrm>
            <a:off x="332101" y="2472643"/>
            <a:ext cx="8109188" cy="1125140"/>
          </a:xfrm>
          <a:prstGeom prst="rect">
            <a:avLst/>
          </a:prstGeom>
        </p:spPr>
        <p:txBody>
          <a:bodyPr anchor="t" anchorCtr="0">
            <a:noAutofit/>
          </a:bodyPr>
          <a:lstStyle>
            <a:lvl1pPr marL="0" indent="0">
              <a:buNone/>
              <a:defRPr sz="2250" b="0">
                <a:solidFill>
                  <a:schemeClr val="bg1"/>
                </a:solidFill>
              </a:defRPr>
            </a:lvl1pPr>
            <a:lvl2pPr marL="342878" indent="0">
              <a:buNone/>
              <a:defRPr sz="1350">
                <a:solidFill>
                  <a:schemeClr val="tx1">
                    <a:tint val="75000"/>
                  </a:schemeClr>
                </a:solidFill>
              </a:defRPr>
            </a:lvl2pPr>
            <a:lvl3pPr marL="685757" indent="0">
              <a:buNone/>
              <a:defRPr sz="1200">
                <a:solidFill>
                  <a:schemeClr val="tx1">
                    <a:tint val="75000"/>
                  </a:schemeClr>
                </a:solidFill>
              </a:defRPr>
            </a:lvl3pPr>
            <a:lvl4pPr marL="1028635" indent="0">
              <a:buNone/>
              <a:defRPr sz="1050">
                <a:solidFill>
                  <a:schemeClr val="tx1">
                    <a:tint val="75000"/>
                  </a:schemeClr>
                </a:solidFill>
              </a:defRPr>
            </a:lvl4pPr>
            <a:lvl5pPr marL="1371513" indent="0">
              <a:buNone/>
              <a:defRPr sz="1050">
                <a:solidFill>
                  <a:schemeClr val="tx1">
                    <a:tint val="75000"/>
                  </a:schemeClr>
                </a:solidFill>
              </a:defRPr>
            </a:lvl5pPr>
            <a:lvl6pPr marL="1714391" indent="0">
              <a:buNone/>
              <a:defRPr sz="1050">
                <a:solidFill>
                  <a:schemeClr val="tx1">
                    <a:tint val="75000"/>
                  </a:schemeClr>
                </a:solidFill>
              </a:defRPr>
            </a:lvl6pPr>
            <a:lvl7pPr marL="2057270" indent="0">
              <a:buNone/>
              <a:defRPr sz="1050">
                <a:solidFill>
                  <a:schemeClr val="tx1">
                    <a:tint val="75000"/>
                  </a:schemeClr>
                </a:solidFill>
              </a:defRPr>
            </a:lvl7pPr>
            <a:lvl8pPr marL="2400149" indent="0">
              <a:buNone/>
              <a:defRPr sz="1050">
                <a:solidFill>
                  <a:schemeClr val="tx1">
                    <a:tint val="75000"/>
                  </a:schemeClr>
                </a:solidFill>
              </a:defRPr>
            </a:lvl8pPr>
            <a:lvl9pPr marL="2743027" indent="0">
              <a:buNone/>
              <a:defRPr sz="1050">
                <a:solidFill>
                  <a:schemeClr val="tx1">
                    <a:tint val="75000"/>
                  </a:schemeClr>
                </a:solidFill>
              </a:defRPr>
            </a:lvl9pPr>
          </a:lstStyle>
          <a:p>
            <a:pPr lvl="0"/>
            <a:r>
              <a:rPr lang="en-GB" noProof="0" dirty="0"/>
              <a:t>&lt;Sub title&gt;</a:t>
            </a:r>
          </a:p>
        </p:txBody>
      </p:sp>
      <p:sp>
        <p:nvSpPr>
          <p:cNvPr id="6" name="SectionNumber"/>
          <p:cNvSpPr>
            <a:spLocks noGrp="1"/>
          </p:cNvSpPr>
          <p:nvPr>
            <p:ph type="body" sz="quarter" idx="10" hasCustomPrompt="1"/>
          </p:nvPr>
        </p:nvSpPr>
        <p:spPr>
          <a:xfrm>
            <a:off x="332100" y="1966464"/>
            <a:ext cx="512450" cy="488700"/>
          </a:xfrm>
          <a:prstGeom prst="rect">
            <a:avLst/>
          </a:prstGeom>
        </p:spPr>
        <p:txBody>
          <a:bodyPr bIns="90000" anchor="b" anchorCtr="0"/>
          <a:lstStyle>
            <a:lvl1pPr algn="l">
              <a:lnSpc>
                <a:spcPts val="3000"/>
              </a:lnSpc>
              <a:spcBef>
                <a:spcPts val="0"/>
              </a:spcBef>
              <a:spcAft>
                <a:spcPts val="0"/>
              </a:spcAft>
              <a:defRPr sz="2850" b="1">
                <a:solidFill>
                  <a:schemeClr val="bg1"/>
                </a:solidFill>
                <a:latin typeface="+mj-lt"/>
              </a:defRPr>
            </a:lvl1pPr>
            <a:lvl2pPr>
              <a:defRPr sz="2850" b="0">
                <a:solidFill>
                  <a:schemeClr val="bg1"/>
                </a:solidFill>
              </a:defRPr>
            </a:lvl2pPr>
            <a:lvl3pPr>
              <a:defRPr sz="2850" b="0">
                <a:solidFill>
                  <a:schemeClr val="bg1"/>
                </a:solidFill>
              </a:defRPr>
            </a:lvl3pPr>
            <a:lvl4pPr>
              <a:defRPr sz="2850" b="0">
                <a:solidFill>
                  <a:schemeClr val="bg1"/>
                </a:solidFill>
              </a:defRPr>
            </a:lvl4pPr>
            <a:lvl5pPr>
              <a:defRPr sz="2850" b="0">
                <a:solidFill>
                  <a:schemeClr val="bg1"/>
                </a:solidFill>
              </a:defRPr>
            </a:lvl5pPr>
          </a:lstStyle>
          <a:p>
            <a:pPr lvl="0"/>
            <a:r>
              <a:rPr lang="en-GB" dirty="0"/>
              <a:t>#</a:t>
            </a:r>
          </a:p>
        </p:txBody>
      </p:sp>
      <p:sp>
        <p:nvSpPr>
          <p:cNvPr id="13" name="ctsFooter"/>
          <p:cNvSpPr txBox="1"/>
          <p:nvPr userDrawn="1"/>
        </p:nvSpPr>
        <p:spPr>
          <a:xfrm>
            <a:off x="332233" y="4841100"/>
            <a:ext cx="7021351" cy="275400"/>
          </a:xfrm>
          <a:prstGeom prst="rect">
            <a:avLst/>
          </a:prstGeom>
          <a:noFill/>
        </p:spPr>
        <p:txBody>
          <a:bodyPr wrap="square" lIns="0" tIns="0" rIns="0" bIns="0" rtlCol="0" anchor="ctr" anchorCtr="0">
            <a:noAutofit/>
          </a:bodyPr>
          <a:lstStyle/>
          <a:p>
            <a:r>
              <a:rPr lang="en-GB" sz="975">
                <a:solidFill>
                  <a:schemeClr val="bg1"/>
                </a:solidFill>
                <a:latin typeface="+mj-lt"/>
              </a:rPr>
              <a:t>October 2016</a:t>
            </a:r>
            <a:endParaRPr lang="en-GB" sz="975" dirty="0">
              <a:solidFill>
                <a:schemeClr val="bg1"/>
              </a:solidFill>
              <a:latin typeface="+mj-lt"/>
            </a:endParaRPr>
          </a:p>
        </p:txBody>
      </p:sp>
      <p:pic>
        <p:nvPicPr>
          <p:cNvPr id="4" name="Picture 3"/>
          <p:cNvPicPr>
            <a:picLocks noChangeAspect="1"/>
          </p:cNvPicPr>
          <p:nvPr userDrawn="1"/>
        </p:nvPicPr>
        <p:blipFill>
          <a:blip r:embed="rId2"/>
          <a:stretch>
            <a:fillRect/>
          </a:stretch>
        </p:blipFill>
        <p:spPr>
          <a:xfrm>
            <a:off x="7970400" y="4919400"/>
            <a:ext cx="850500" cy="144287"/>
          </a:xfrm>
          <a:prstGeom prst="rect">
            <a:avLst/>
          </a:prstGeom>
        </p:spPr>
      </p:pic>
    </p:spTree>
    <p:extLst>
      <p:ext uri="{BB962C8B-B14F-4D97-AF65-F5344CB8AC3E}">
        <p14:creationId xmlns:p14="http://schemas.microsoft.com/office/powerpoint/2010/main" val="38628231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bwMode="gray">
          <a:xfrm>
            <a:off x="332100" y="953100"/>
            <a:ext cx="4171905" cy="3618000"/>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smtClean="0"/>
            </a:lvl5pPr>
            <a:lvl6pPr>
              <a:spcBef>
                <a:spcPts val="450"/>
              </a:spcBef>
              <a:defRPr lang="en-GB" noProof="0" dirty="0" smtClean="0"/>
            </a:lvl6pPr>
            <a:lvl7pPr>
              <a:spcBef>
                <a:spcPts val="450"/>
              </a:spcBef>
              <a:defRPr lang="en-GB" noProof="0" dirty="0" smtClean="0"/>
            </a:lvl7pPr>
            <a:lvl8pPr>
              <a:spcBef>
                <a:spcPts val="450"/>
              </a:spcBef>
              <a:defRPr lang="en-GB" noProof="0" dirty="0" smtClean="0"/>
            </a:lvl8pPr>
            <a:lvl9pPr>
              <a:spcBef>
                <a:spcPts val="450"/>
              </a:spcBef>
              <a:defRPr lang="en-GB" noProof="0" dirty="0"/>
            </a:lvl9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11" name="Content Placeholder 9"/>
          <p:cNvSpPr>
            <a:spLocks noGrp="1"/>
          </p:cNvSpPr>
          <p:nvPr>
            <p:ph sz="quarter" idx="14" hasCustomPrompt="1"/>
          </p:nvPr>
        </p:nvSpPr>
        <p:spPr bwMode="gray">
          <a:xfrm>
            <a:off x="4623239" y="953100"/>
            <a:ext cx="4171500" cy="3618000"/>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smtClean="0"/>
            </a:lvl5pPr>
            <a:lvl6pPr>
              <a:spcBef>
                <a:spcPts val="450"/>
              </a:spcBef>
              <a:defRPr lang="en-GB" noProof="0" dirty="0" smtClean="0"/>
            </a:lvl6pPr>
            <a:lvl7pPr>
              <a:spcBef>
                <a:spcPts val="450"/>
              </a:spcBef>
              <a:defRPr lang="en-GB" noProof="0" dirty="0" smtClean="0"/>
            </a:lvl7pPr>
            <a:lvl8pPr>
              <a:spcBef>
                <a:spcPts val="450"/>
              </a:spcBef>
              <a:defRPr lang="en-GB" noProof="0" dirty="0" smtClean="0"/>
            </a:lvl8pPr>
            <a:lvl9pPr>
              <a:spcBef>
                <a:spcPts val="450"/>
              </a:spcBef>
              <a:defRPr lang="en-GB" noProof="0" dirty="0"/>
            </a:lvl9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3" name="Title 2"/>
          <p:cNvSpPr>
            <a:spLocks noGrp="1"/>
          </p:cNvSpPr>
          <p:nvPr>
            <p:ph type="title" hasCustomPrompt="1"/>
          </p:nvPr>
        </p:nvSpPr>
        <p:spPr>
          <a:xfrm>
            <a:off x="332100" y="108000"/>
            <a:ext cx="8478000" cy="571500"/>
          </a:xfrm>
        </p:spPr>
        <p:txBody>
          <a:bodyPr/>
          <a:lstStyle/>
          <a:p>
            <a:r>
              <a:rPr lang="en-GB" noProof="0" dirty="0"/>
              <a:t>&lt;Insert title&gt;</a:t>
            </a:r>
          </a:p>
        </p:txBody>
      </p:sp>
    </p:spTree>
    <p:extLst>
      <p:ext uri="{BB962C8B-B14F-4D97-AF65-F5344CB8AC3E}">
        <p14:creationId xmlns:p14="http://schemas.microsoft.com/office/powerpoint/2010/main" val="39337770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_ With Headings">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bwMode="gray">
          <a:xfrm>
            <a:off x="332100" y="1220400"/>
            <a:ext cx="4171500" cy="3353756"/>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smtClean="0"/>
            </a:lvl5pPr>
            <a:lvl6pPr>
              <a:spcBef>
                <a:spcPts val="450"/>
              </a:spcBef>
              <a:defRPr lang="en-GB" noProof="0" dirty="0" smtClean="0"/>
            </a:lvl6pPr>
            <a:lvl7pPr>
              <a:spcBef>
                <a:spcPts val="450"/>
              </a:spcBef>
              <a:defRPr lang="en-GB" noProof="0" dirty="0" smtClean="0"/>
            </a:lvl7pPr>
            <a:lvl8pPr>
              <a:spcBef>
                <a:spcPts val="450"/>
              </a:spcBef>
              <a:defRPr lang="en-GB" noProof="0" dirty="0" smtClean="0"/>
            </a:lvl8pPr>
            <a:lvl9pPr>
              <a:spcBef>
                <a:spcPts val="450"/>
              </a:spcBef>
              <a:defRPr lang="en-GB" noProof="0" dirty="0"/>
            </a:lvl9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11" name="Content Placeholder 9"/>
          <p:cNvSpPr>
            <a:spLocks noGrp="1"/>
          </p:cNvSpPr>
          <p:nvPr>
            <p:ph sz="quarter" idx="14" hasCustomPrompt="1"/>
          </p:nvPr>
        </p:nvSpPr>
        <p:spPr bwMode="gray">
          <a:xfrm>
            <a:off x="4636700" y="1220400"/>
            <a:ext cx="4171500" cy="3353756"/>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smtClean="0"/>
            </a:lvl5pPr>
            <a:lvl6pPr>
              <a:spcBef>
                <a:spcPts val="450"/>
              </a:spcBef>
              <a:defRPr lang="en-GB" noProof="0" dirty="0" smtClean="0"/>
            </a:lvl6pPr>
            <a:lvl7pPr>
              <a:spcBef>
                <a:spcPts val="450"/>
              </a:spcBef>
              <a:defRPr lang="en-GB" noProof="0" dirty="0" smtClean="0"/>
            </a:lvl7pPr>
            <a:lvl8pPr>
              <a:spcBef>
                <a:spcPts val="450"/>
              </a:spcBef>
              <a:defRPr lang="en-GB" noProof="0" dirty="0" smtClean="0"/>
            </a:lvl8pPr>
            <a:lvl9pPr>
              <a:spcBef>
                <a:spcPts val="450"/>
              </a:spcBef>
              <a:defRPr lang="en-GB" noProof="0" dirty="0"/>
            </a:lvl9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3" name="Title 2"/>
          <p:cNvSpPr>
            <a:spLocks noGrp="1"/>
          </p:cNvSpPr>
          <p:nvPr>
            <p:ph type="title" hasCustomPrompt="1"/>
          </p:nvPr>
        </p:nvSpPr>
        <p:spPr>
          <a:xfrm>
            <a:off x="332100" y="108000"/>
            <a:ext cx="8478000" cy="571500"/>
          </a:xfrm>
        </p:spPr>
        <p:txBody>
          <a:bodyPr/>
          <a:lstStyle/>
          <a:p>
            <a:r>
              <a:rPr lang="en-GB" noProof="0" dirty="0"/>
              <a:t>&lt;Insert title&gt;</a:t>
            </a:r>
          </a:p>
        </p:txBody>
      </p:sp>
    </p:spTree>
    <p:extLst>
      <p:ext uri="{BB962C8B-B14F-4D97-AF65-F5344CB8AC3E}">
        <p14:creationId xmlns:p14="http://schemas.microsoft.com/office/powerpoint/2010/main" val="41683914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x1 Content _ With Headings">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bwMode="gray">
          <a:xfrm>
            <a:off x="332100" y="1217700"/>
            <a:ext cx="6183000" cy="3362927"/>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smtClean="0"/>
            </a:lvl5pPr>
            <a:lvl6pPr>
              <a:spcBef>
                <a:spcPts val="450"/>
              </a:spcBef>
              <a:defRPr lang="en-GB" noProof="0" dirty="0" smtClean="0"/>
            </a:lvl6pPr>
            <a:lvl7pPr>
              <a:spcBef>
                <a:spcPts val="450"/>
              </a:spcBef>
              <a:defRPr lang="en-GB" noProof="0" dirty="0" smtClean="0"/>
            </a:lvl7pPr>
            <a:lvl8pPr>
              <a:spcBef>
                <a:spcPts val="450"/>
              </a:spcBef>
              <a:defRPr lang="en-GB" noProof="0" dirty="0" smtClean="0"/>
            </a:lvl8pPr>
            <a:lvl9pPr>
              <a:spcBef>
                <a:spcPts val="450"/>
              </a:spcBef>
              <a:defRPr lang="en-GB" noProof="0" dirty="0"/>
            </a:lvl9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11" name="Content Placeholder 9"/>
          <p:cNvSpPr>
            <a:spLocks noGrp="1"/>
          </p:cNvSpPr>
          <p:nvPr>
            <p:ph sz="quarter" idx="14" hasCustomPrompt="1"/>
          </p:nvPr>
        </p:nvSpPr>
        <p:spPr bwMode="gray">
          <a:xfrm>
            <a:off x="6648450" y="1217700"/>
            <a:ext cx="2159750" cy="3362927"/>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smtClean="0"/>
            </a:lvl5pPr>
            <a:lvl6pPr>
              <a:spcBef>
                <a:spcPts val="450"/>
              </a:spcBef>
              <a:defRPr lang="en-GB" noProof="0" dirty="0" smtClean="0"/>
            </a:lvl6pPr>
            <a:lvl7pPr>
              <a:spcBef>
                <a:spcPts val="450"/>
              </a:spcBef>
              <a:defRPr lang="en-GB" noProof="0" dirty="0" smtClean="0"/>
            </a:lvl7pPr>
            <a:lvl8pPr>
              <a:spcBef>
                <a:spcPts val="450"/>
              </a:spcBef>
              <a:defRPr lang="en-GB" noProof="0" dirty="0" smtClean="0"/>
            </a:lvl8pPr>
            <a:lvl9pPr>
              <a:spcBef>
                <a:spcPts val="450"/>
              </a:spcBef>
              <a:defRPr lang="en-GB" noProof="0" dirty="0"/>
            </a:lvl9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3" name="Title 2"/>
          <p:cNvSpPr>
            <a:spLocks noGrp="1"/>
          </p:cNvSpPr>
          <p:nvPr>
            <p:ph type="title" hasCustomPrompt="1"/>
          </p:nvPr>
        </p:nvSpPr>
        <p:spPr>
          <a:xfrm>
            <a:off x="332100" y="108000"/>
            <a:ext cx="8478000" cy="571500"/>
          </a:xfrm>
        </p:spPr>
        <p:txBody>
          <a:bodyPr/>
          <a:lstStyle/>
          <a:p>
            <a:r>
              <a:rPr lang="en-GB" noProof="0" dirty="0"/>
              <a:t>&lt;Insert title&gt;</a:t>
            </a:r>
          </a:p>
        </p:txBody>
      </p:sp>
    </p:spTree>
    <p:extLst>
      <p:ext uri="{BB962C8B-B14F-4D97-AF65-F5344CB8AC3E}">
        <p14:creationId xmlns:p14="http://schemas.microsoft.com/office/powerpoint/2010/main" val="13057309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_ Horizontal">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bwMode="gray">
          <a:xfrm>
            <a:off x="332100" y="1217700"/>
            <a:ext cx="8478000" cy="1519031"/>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smtClean="0"/>
            </a:lvl5pPr>
            <a:lvl6pPr>
              <a:spcBef>
                <a:spcPts val="450"/>
              </a:spcBef>
              <a:defRPr lang="en-GB" noProof="0" dirty="0"/>
            </a:lvl6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11" name="Content Placeholder 9"/>
          <p:cNvSpPr>
            <a:spLocks noGrp="1"/>
          </p:cNvSpPr>
          <p:nvPr>
            <p:ph sz="quarter" idx="14" hasCustomPrompt="1"/>
          </p:nvPr>
        </p:nvSpPr>
        <p:spPr bwMode="gray">
          <a:xfrm>
            <a:off x="332100" y="3067046"/>
            <a:ext cx="8478000" cy="1520100"/>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smtClean="0"/>
            </a:lvl5pPr>
            <a:lvl6pPr>
              <a:spcBef>
                <a:spcPts val="450"/>
              </a:spcBef>
              <a:defRPr lang="en-GB" noProof="0" dirty="0"/>
            </a:lvl6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3" name="Title 2"/>
          <p:cNvSpPr>
            <a:spLocks noGrp="1"/>
          </p:cNvSpPr>
          <p:nvPr>
            <p:ph type="title" hasCustomPrompt="1"/>
          </p:nvPr>
        </p:nvSpPr>
        <p:spPr>
          <a:xfrm>
            <a:off x="332100" y="108000"/>
            <a:ext cx="8478000" cy="571500"/>
          </a:xfrm>
        </p:spPr>
        <p:txBody>
          <a:bodyPr>
            <a:noAutofit/>
          </a:bodyPr>
          <a:lstStyle/>
          <a:p>
            <a:r>
              <a:rPr lang="en-GB" noProof="0" dirty="0"/>
              <a:t>&lt;Insert title&gt;</a:t>
            </a:r>
          </a:p>
        </p:txBody>
      </p:sp>
    </p:spTree>
    <p:extLst>
      <p:ext uri="{BB962C8B-B14F-4D97-AF65-F5344CB8AC3E}">
        <p14:creationId xmlns:p14="http://schemas.microsoft.com/office/powerpoint/2010/main" val="10418731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Content with Margin">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bwMode="gray">
          <a:xfrm>
            <a:off x="1764506" y="953100"/>
            <a:ext cx="7053822" cy="3621186"/>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smtClean="0"/>
            </a:lvl5pPr>
            <a:lvl6pPr>
              <a:spcBef>
                <a:spcPts val="450"/>
              </a:spcBef>
              <a:defRPr lang="en-GB" noProof="0" dirty="0"/>
            </a:lvl6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3" name="Title 2"/>
          <p:cNvSpPr>
            <a:spLocks noGrp="1"/>
          </p:cNvSpPr>
          <p:nvPr>
            <p:ph type="title" hasCustomPrompt="1"/>
          </p:nvPr>
        </p:nvSpPr>
        <p:spPr/>
        <p:txBody>
          <a:bodyPr>
            <a:noAutofit/>
          </a:bodyPr>
          <a:lstStyle/>
          <a:p>
            <a:r>
              <a:rPr lang="en-GB" noProof="0" dirty="0"/>
              <a:t>&lt;Insert title&gt;</a:t>
            </a:r>
          </a:p>
        </p:txBody>
      </p:sp>
    </p:spTree>
    <p:extLst>
      <p:ext uri="{BB962C8B-B14F-4D97-AF65-F5344CB8AC3E}">
        <p14:creationId xmlns:p14="http://schemas.microsoft.com/office/powerpoint/2010/main" val="21475048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with Margin">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bwMode="gray">
          <a:xfrm>
            <a:off x="1764506" y="953100"/>
            <a:ext cx="7053822" cy="1650206"/>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smtClean="0"/>
            </a:lvl5pPr>
            <a:lvl6pPr>
              <a:spcBef>
                <a:spcPts val="450"/>
              </a:spcBef>
              <a:defRPr lang="en-GB" noProof="0" dirty="0"/>
            </a:lvl6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3" name="Title 2"/>
          <p:cNvSpPr>
            <a:spLocks noGrp="1"/>
          </p:cNvSpPr>
          <p:nvPr>
            <p:ph type="title" hasCustomPrompt="1"/>
          </p:nvPr>
        </p:nvSpPr>
        <p:spPr/>
        <p:txBody>
          <a:bodyPr>
            <a:noAutofit/>
          </a:bodyPr>
          <a:lstStyle/>
          <a:p>
            <a:r>
              <a:rPr lang="en-GB" noProof="0" dirty="0"/>
              <a:t>&lt;Insert title&gt;</a:t>
            </a:r>
          </a:p>
        </p:txBody>
      </p:sp>
      <p:sp>
        <p:nvSpPr>
          <p:cNvPr id="6" name="Content Placeholder 9"/>
          <p:cNvSpPr>
            <a:spLocks noGrp="1"/>
          </p:cNvSpPr>
          <p:nvPr>
            <p:ph sz="quarter" idx="14" hasCustomPrompt="1"/>
          </p:nvPr>
        </p:nvSpPr>
        <p:spPr bwMode="gray">
          <a:xfrm>
            <a:off x="1764506" y="2921794"/>
            <a:ext cx="7053822" cy="1650206"/>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smtClean="0"/>
            </a:lvl5pPr>
            <a:lvl6pPr>
              <a:spcBef>
                <a:spcPts val="450"/>
              </a:spcBef>
              <a:defRPr lang="en-GB" noProof="0" dirty="0"/>
            </a:lvl6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Tree>
    <p:extLst>
      <p:ext uri="{BB962C8B-B14F-4D97-AF65-F5344CB8AC3E}">
        <p14:creationId xmlns:p14="http://schemas.microsoft.com/office/powerpoint/2010/main" val="26367298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with Margin">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bwMode="gray">
          <a:xfrm>
            <a:off x="1764506" y="953101"/>
            <a:ext cx="7053822" cy="1085849"/>
          </a:xfrm>
          <a:prstGeom prst="rect">
            <a:avLst/>
          </a:prstGeom>
        </p:spPr>
        <p:txBody>
          <a:bodyPr tIns="0">
            <a:noAutofit/>
          </a:bodyPr>
          <a:lstStyle>
            <a:lvl1pPr>
              <a:spcAft>
                <a:spcPts val="0"/>
              </a:spcAft>
              <a:defRPr/>
            </a:lvl1pPr>
            <a:lvl2pPr>
              <a:spcBef>
                <a:spcPts val="300"/>
              </a:spcBef>
              <a:defRPr/>
            </a:lvl2pPr>
            <a:lvl3pPr>
              <a:spcBef>
                <a:spcPts val="300"/>
              </a:spcBef>
              <a:defRPr/>
            </a:lvl3pPr>
            <a:lvl4pPr>
              <a:spcBef>
                <a:spcPts val="300"/>
              </a:spcBef>
              <a:defRPr/>
            </a:lvl4pPr>
            <a:lvl5pPr>
              <a:defRPr/>
            </a:lvl5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p:txBody>
      </p:sp>
      <p:sp>
        <p:nvSpPr>
          <p:cNvPr id="3" name="Title 2"/>
          <p:cNvSpPr>
            <a:spLocks noGrp="1"/>
          </p:cNvSpPr>
          <p:nvPr>
            <p:ph type="title" hasCustomPrompt="1"/>
          </p:nvPr>
        </p:nvSpPr>
        <p:spPr/>
        <p:txBody>
          <a:bodyPr>
            <a:noAutofit/>
          </a:bodyPr>
          <a:lstStyle/>
          <a:p>
            <a:r>
              <a:rPr lang="en-GB" noProof="0" dirty="0"/>
              <a:t>&lt;Insert title&gt;</a:t>
            </a:r>
          </a:p>
        </p:txBody>
      </p:sp>
      <p:sp>
        <p:nvSpPr>
          <p:cNvPr id="8" name="Content Placeholder 9"/>
          <p:cNvSpPr>
            <a:spLocks noGrp="1"/>
          </p:cNvSpPr>
          <p:nvPr>
            <p:ph sz="quarter" idx="14" hasCustomPrompt="1"/>
          </p:nvPr>
        </p:nvSpPr>
        <p:spPr bwMode="gray">
          <a:xfrm>
            <a:off x="1764506" y="2219626"/>
            <a:ext cx="7053822" cy="1085849"/>
          </a:xfrm>
          <a:prstGeom prst="rect">
            <a:avLst/>
          </a:prstGeom>
        </p:spPr>
        <p:txBody>
          <a:bodyPr vert="horz" lIns="0" tIns="0" rIns="0" bIns="0" rtlCol="0">
            <a:noAutofit/>
          </a:bodyPr>
          <a:lstStyle>
            <a:lvl1pPr>
              <a:defRPr lang="en-GB" noProof="0" dirty="0" smtClean="0"/>
            </a:lvl1pPr>
            <a:lvl2pPr>
              <a:spcBef>
                <a:spcPts val="300"/>
              </a:spcBef>
              <a:defRPr lang="en-GB" noProof="0" dirty="0" smtClean="0"/>
            </a:lvl2pPr>
            <a:lvl3pPr>
              <a:spcBef>
                <a:spcPts val="300"/>
              </a:spcBef>
              <a:defRPr lang="en-GB" noProof="0" dirty="0" smtClean="0"/>
            </a:lvl3pPr>
            <a:lvl4pPr>
              <a:spcBef>
                <a:spcPts val="300"/>
              </a:spcBef>
              <a:defRPr lang="en-GB" noProof="0" dirty="0" smtClean="0"/>
            </a:lvl4pPr>
          </a:lstStyle>
          <a:p>
            <a:pPr lvl="0">
              <a:spcAft>
                <a:spcPts val="0"/>
              </a:spcAft>
            </a:pPr>
            <a:r>
              <a:rPr lang="en-GB" noProof="0" dirty="0"/>
              <a:t>&lt;Insert bullets or format text with the buttons on the ‘GTM Tools’ ribbon&gt;</a:t>
            </a:r>
          </a:p>
          <a:p>
            <a:pPr lvl="1">
              <a:spcBef>
                <a:spcPts val="450"/>
              </a:spcBef>
            </a:pPr>
            <a:r>
              <a:rPr lang="en-GB" noProof="0" dirty="0"/>
              <a:t>Second level</a:t>
            </a:r>
          </a:p>
          <a:p>
            <a:pPr lvl="2">
              <a:spcBef>
                <a:spcPts val="300"/>
              </a:spcBef>
            </a:pPr>
            <a:r>
              <a:rPr lang="en-GB" noProof="0" dirty="0"/>
              <a:t>Third level</a:t>
            </a:r>
          </a:p>
          <a:p>
            <a:pPr lvl="3">
              <a:spcBef>
                <a:spcPts val="300"/>
              </a:spcBef>
            </a:pPr>
            <a:r>
              <a:rPr lang="en-GB" noProof="0" dirty="0"/>
              <a:t>Fourth level</a:t>
            </a:r>
          </a:p>
        </p:txBody>
      </p:sp>
      <p:sp>
        <p:nvSpPr>
          <p:cNvPr id="9" name="Content Placeholder 9"/>
          <p:cNvSpPr>
            <a:spLocks noGrp="1"/>
          </p:cNvSpPr>
          <p:nvPr>
            <p:ph sz="quarter" idx="15" hasCustomPrompt="1"/>
          </p:nvPr>
        </p:nvSpPr>
        <p:spPr bwMode="gray">
          <a:xfrm>
            <a:off x="1764506" y="3486151"/>
            <a:ext cx="7053822" cy="1085849"/>
          </a:xfrm>
          <a:prstGeom prst="rect">
            <a:avLst/>
          </a:prstGeom>
        </p:spPr>
        <p:txBody>
          <a:bodyPr vert="horz" lIns="0" tIns="0" rIns="0" bIns="0" rtlCol="0">
            <a:noAutofit/>
          </a:bodyPr>
          <a:lstStyle>
            <a:lvl1pPr>
              <a:defRPr lang="en-GB" noProof="0" dirty="0" smtClean="0"/>
            </a:lvl1pPr>
            <a:lvl2pPr>
              <a:spcBef>
                <a:spcPts val="300"/>
              </a:spcBef>
              <a:defRPr lang="en-GB" noProof="0" dirty="0" smtClean="0"/>
            </a:lvl2pPr>
            <a:lvl3pPr>
              <a:spcBef>
                <a:spcPts val="300"/>
              </a:spcBef>
              <a:defRPr lang="en-GB" noProof="0" dirty="0" smtClean="0"/>
            </a:lvl3pPr>
            <a:lvl4pPr>
              <a:spcBef>
                <a:spcPts val="300"/>
              </a:spcBef>
              <a:defRPr lang="en-GB" noProof="0" dirty="0" smtClean="0"/>
            </a:lvl4pPr>
          </a:lstStyle>
          <a:p>
            <a:pPr lvl="0">
              <a:spcAft>
                <a:spcPts val="0"/>
              </a:spcAft>
            </a:pPr>
            <a:r>
              <a:rPr lang="en-GB" noProof="0" dirty="0"/>
              <a:t>&lt;Insert bullets or format text with the buttons on the ‘GTM Tools’ ribbon&gt;</a:t>
            </a:r>
          </a:p>
          <a:p>
            <a:pPr lvl="1">
              <a:spcBef>
                <a:spcPts val="450"/>
              </a:spcBef>
            </a:pPr>
            <a:r>
              <a:rPr lang="en-GB" noProof="0" dirty="0"/>
              <a:t>Second level</a:t>
            </a:r>
          </a:p>
          <a:p>
            <a:pPr lvl="2">
              <a:spcBef>
                <a:spcPts val="300"/>
              </a:spcBef>
            </a:pPr>
            <a:r>
              <a:rPr lang="en-GB" noProof="0" dirty="0"/>
              <a:t>Third level</a:t>
            </a:r>
          </a:p>
          <a:p>
            <a:pPr lvl="3">
              <a:spcBef>
                <a:spcPts val="300"/>
              </a:spcBef>
            </a:pPr>
            <a:r>
              <a:rPr lang="en-GB" noProof="0" dirty="0"/>
              <a:t>Fourth level</a:t>
            </a:r>
          </a:p>
        </p:txBody>
      </p:sp>
    </p:spTree>
    <p:extLst>
      <p:ext uri="{BB962C8B-B14F-4D97-AF65-F5344CB8AC3E}">
        <p14:creationId xmlns:p14="http://schemas.microsoft.com/office/powerpoint/2010/main" val="6382395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708542" y="2228850"/>
            <a:ext cx="7726918" cy="685800"/>
          </a:xfrm>
          <a:prstGeom prst="rect">
            <a:avLst/>
          </a:prstGeom>
        </p:spPr>
        <p:txBody>
          <a:bodyPr/>
          <a:lstStyle>
            <a:lvl1pPr marL="0" indent="0" algn="ctr">
              <a:buNone/>
              <a:defRPr sz="2100" b="1" baseline="0">
                <a:latin typeface="+mj-lt"/>
              </a:defRPr>
            </a:lvl1pPr>
            <a:lvl2pPr>
              <a:defRPr sz="1650">
                <a:latin typeface="+mj-lt"/>
              </a:defRPr>
            </a:lvl2pPr>
            <a:lvl3pPr>
              <a:defRPr sz="1650">
                <a:latin typeface="+mj-lt"/>
              </a:defRPr>
            </a:lvl3pPr>
            <a:lvl4pPr>
              <a:defRPr sz="1650">
                <a:latin typeface="+mj-lt"/>
              </a:defRPr>
            </a:lvl4pPr>
            <a:lvl5pPr>
              <a:defRPr sz="1650">
                <a:latin typeface="+mj-lt"/>
              </a:defRPr>
            </a:lvl5pPr>
          </a:lstStyle>
          <a:p>
            <a:pPr lvl="0"/>
            <a:r>
              <a:rPr lang="en-US" dirty="0"/>
              <a:t>Section Break – Title Case (as in, Words that are Longer than Three Letters are Capitalized)</a:t>
            </a:r>
          </a:p>
        </p:txBody>
      </p:sp>
      <p:sp>
        <p:nvSpPr>
          <p:cNvPr id="3" name="Text Placeholder 2"/>
          <p:cNvSpPr txBox="1">
            <a:spLocks/>
          </p:cNvSpPr>
          <p:nvPr userDrawn="1"/>
        </p:nvSpPr>
        <p:spPr>
          <a:xfrm>
            <a:off x="3176017" y="4844007"/>
            <a:ext cx="2791968" cy="322485"/>
          </a:xfrm>
          <a:prstGeom prst="rect">
            <a:avLst/>
          </a:prstGeom>
        </p:spPr>
        <p:txBody>
          <a:bodyPr vert="horz" lIns="121899" tIns="60949" rIns="121899" bIns="60949" rtlCol="0" anchor="ctr">
            <a:normAutofit/>
          </a:bodyPr>
          <a:lstStyle>
            <a:lvl1pPr marL="0" indent="0" algn="l" defTabSz="685863" rtl="0" eaLnBrk="1" latinLnBrk="0" hangingPunct="1">
              <a:spcBef>
                <a:spcPct val="20000"/>
              </a:spcBef>
              <a:buFont typeface="Wingdings" panose="05000000000000000000" pitchFamily="2" charset="2"/>
              <a:buNone/>
              <a:defRPr sz="1200" kern="1200">
                <a:solidFill>
                  <a:schemeClr val="tx1"/>
                </a:solidFill>
                <a:latin typeface="+mj-lt"/>
                <a:ea typeface="+mn-ea"/>
                <a:cs typeface="+mn-cs"/>
              </a:defRPr>
            </a:lvl1pPr>
            <a:lvl2pPr marL="129779" indent="-129779" algn="l" defTabSz="685863" rtl="0" eaLnBrk="1" latinLnBrk="0" hangingPunct="1">
              <a:spcBef>
                <a:spcPct val="20000"/>
              </a:spcBef>
              <a:buFont typeface="Wingdings" panose="05000000000000000000" pitchFamily="2" charset="2"/>
              <a:buChar char="§"/>
              <a:defRPr sz="1200" kern="1200">
                <a:solidFill>
                  <a:schemeClr val="tx1"/>
                </a:solidFill>
                <a:latin typeface="+mj-lt"/>
                <a:ea typeface="+mn-ea"/>
                <a:cs typeface="+mn-cs"/>
              </a:defRPr>
            </a:lvl2pPr>
            <a:lvl3pPr marL="259556" indent="-129779" algn="l" defTabSz="685863" rtl="0" eaLnBrk="1" latinLnBrk="0" hangingPunct="1">
              <a:spcBef>
                <a:spcPct val="20000"/>
              </a:spcBef>
              <a:buFont typeface="Calibri" panose="020F0502020204030204" pitchFamily="34" charset="0"/>
              <a:buChar char="‒"/>
              <a:defRPr sz="1200" kern="1200">
                <a:solidFill>
                  <a:schemeClr val="tx1"/>
                </a:solidFill>
                <a:latin typeface="+mj-lt"/>
                <a:ea typeface="+mn-ea"/>
                <a:cs typeface="+mn-cs"/>
              </a:defRPr>
            </a:lvl3pPr>
            <a:lvl4pPr marL="388144" indent="-128588" algn="l" defTabSz="685863" rtl="0" eaLnBrk="1" latinLnBrk="0" hangingPunct="1">
              <a:spcBef>
                <a:spcPct val="20000"/>
              </a:spcBef>
              <a:buFont typeface="Calibri" panose="020F0502020204030204" pitchFamily="34" charset="0"/>
              <a:buChar char="▫"/>
              <a:defRPr sz="1200" kern="1200">
                <a:solidFill>
                  <a:schemeClr val="tx1"/>
                </a:solidFill>
                <a:latin typeface="+mj-lt"/>
                <a:ea typeface="+mn-ea"/>
                <a:cs typeface="+mn-cs"/>
              </a:defRPr>
            </a:lvl4pPr>
            <a:lvl5pPr marL="517922" indent="-129779" algn="l" defTabSz="685863" rtl="0" eaLnBrk="1" latinLnBrk="0" hangingPunct="1">
              <a:spcBef>
                <a:spcPct val="20000"/>
              </a:spcBef>
              <a:buFont typeface="Calibri" panose="020F0502020204030204" pitchFamily="34" charset="0"/>
              <a:buChar char="‐"/>
              <a:defRPr sz="1200" kern="1200">
                <a:solidFill>
                  <a:schemeClr val="tx1"/>
                </a:solidFill>
                <a:latin typeface="+mj-lt"/>
                <a:ea typeface="+mn-ea"/>
                <a:cs typeface="+mn-cs"/>
              </a:defRPr>
            </a:lvl5pPr>
            <a:lvl6pPr marL="1886123" indent="-171466" algn="l" defTabSz="685863" rtl="0" eaLnBrk="1" latinLnBrk="0" hangingPunct="1">
              <a:spcBef>
                <a:spcPct val="20000"/>
              </a:spcBef>
              <a:buFont typeface="Arial" pitchFamily="34" charset="0"/>
              <a:buChar char="•"/>
              <a:defRPr sz="1520" kern="1200">
                <a:solidFill>
                  <a:schemeClr val="tx1"/>
                </a:solidFill>
                <a:latin typeface="+mn-lt"/>
                <a:ea typeface="+mn-ea"/>
                <a:cs typeface="+mn-cs"/>
              </a:defRPr>
            </a:lvl6pPr>
            <a:lvl7pPr marL="2229055" indent="-171466" algn="l" defTabSz="685863" rtl="0" eaLnBrk="1" latinLnBrk="0" hangingPunct="1">
              <a:spcBef>
                <a:spcPct val="20000"/>
              </a:spcBef>
              <a:buFont typeface="Arial" pitchFamily="34" charset="0"/>
              <a:buChar char="•"/>
              <a:defRPr sz="1520" kern="1200">
                <a:solidFill>
                  <a:schemeClr val="tx1"/>
                </a:solidFill>
                <a:latin typeface="+mn-lt"/>
                <a:ea typeface="+mn-ea"/>
                <a:cs typeface="+mn-cs"/>
              </a:defRPr>
            </a:lvl7pPr>
            <a:lvl8pPr marL="2571986" indent="-171466" algn="l" defTabSz="685863" rtl="0" eaLnBrk="1" latinLnBrk="0" hangingPunct="1">
              <a:spcBef>
                <a:spcPct val="20000"/>
              </a:spcBef>
              <a:buFont typeface="Arial" pitchFamily="34" charset="0"/>
              <a:buChar char="•"/>
              <a:defRPr sz="1520" kern="1200">
                <a:solidFill>
                  <a:schemeClr val="tx1"/>
                </a:solidFill>
                <a:latin typeface="+mn-lt"/>
                <a:ea typeface="+mn-ea"/>
                <a:cs typeface="+mn-cs"/>
              </a:defRPr>
            </a:lvl8pPr>
            <a:lvl9pPr marL="2914917" indent="-171466" algn="l" defTabSz="685863" rtl="0" eaLnBrk="1" latinLnBrk="0" hangingPunct="1">
              <a:spcBef>
                <a:spcPct val="20000"/>
              </a:spcBef>
              <a:buFont typeface="Arial" pitchFamily="34" charset="0"/>
              <a:buChar char="•"/>
              <a:defRPr sz="1520" kern="1200">
                <a:solidFill>
                  <a:schemeClr val="tx1"/>
                </a:solidFill>
                <a:latin typeface="+mn-lt"/>
                <a:ea typeface="+mn-ea"/>
                <a:cs typeface="+mn-cs"/>
              </a:defRPr>
            </a:lvl9pPr>
          </a:lstStyle>
          <a:p>
            <a:pPr algn="ctr"/>
            <a:r>
              <a:rPr lang="en-US" altLang="zh-CN" sz="1050" dirty="0">
                <a:solidFill>
                  <a:schemeClr val="bg1"/>
                </a:solidFill>
              </a:rPr>
              <a:t>NYPA Strategy – Privileged &amp; Confidential</a:t>
            </a:r>
          </a:p>
        </p:txBody>
      </p:sp>
    </p:spTree>
    <p:extLst>
      <p:ext uri="{BB962C8B-B14F-4D97-AF65-F5344CB8AC3E}">
        <p14:creationId xmlns:p14="http://schemas.microsoft.com/office/powerpoint/2010/main" val="3766523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bwMode="gray">
          <a:xfrm>
            <a:off x="332100" y="1217700"/>
            <a:ext cx="4171500" cy="1520100"/>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a:lvl5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Content Placeholder 9"/>
          <p:cNvSpPr>
            <a:spLocks noGrp="1"/>
          </p:cNvSpPr>
          <p:nvPr>
            <p:ph sz="quarter" idx="14" hasCustomPrompt="1"/>
          </p:nvPr>
        </p:nvSpPr>
        <p:spPr bwMode="gray">
          <a:xfrm>
            <a:off x="332100" y="3067046"/>
            <a:ext cx="4171500" cy="1520100"/>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a:lvl5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Title 2"/>
          <p:cNvSpPr>
            <a:spLocks noGrp="1"/>
          </p:cNvSpPr>
          <p:nvPr>
            <p:ph type="title" hasCustomPrompt="1"/>
          </p:nvPr>
        </p:nvSpPr>
        <p:spPr>
          <a:xfrm>
            <a:off x="332100" y="108000"/>
            <a:ext cx="8478000" cy="571500"/>
          </a:xfrm>
        </p:spPr>
        <p:txBody>
          <a:bodyPr>
            <a:noAutofit/>
          </a:bodyPr>
          <a:lstStyle/>
          <a:p>
            <a:r>
              <a:rPr lang="en-GB" noProof="0" dirty="0"/>
              <a:t>&lt;Insert title&gt;</a:t>
            </a:r>
          </a:p>
        </p:txBody>
      </p:sp>
      <p:sp>
        <p:nvSpPr>
          <p:cNvPr id="25" name="Content Placeholder 9"/>
          <p:cNvSpPr>
            <a:spLocks noGrp="1"/>
          </p:cNvSpPr>
          <p:nvPr>
            <p:ph sz="quarter" idx="15" hasCustomPrompt="1"/>
          </p:nvPr>
        </p:nvSpPr>
        <p:spPr bwMode="gray">
          <a:xfrm>
            <a:off x="4635898" y="1217700"/>
            <a:ext cx="4171500" cy="1520100"/>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a:lvl5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6" name="Content Placeholder 9"/>
          <p:cNvSpPr>
            <a:spLocks noGrp="1"/>
          </p:cNvSpPr>
          <p:nvPr>
            <p:ph sz="quarter" idx="16" hasCustomPrompt="1"/>
          </p:nvPr>
        </p:nvSpPr>
        <p:spPr bwMode="gray">
          <a:xfrm>
            <a:off x="4635898" y="3067046"/>
            <a:ext cx="4171500" cy="1520100"/>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a:lvl5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18079985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X1 Content _ With Headings">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bwMode="gray">
          <a:xfrm>
            <a:off x="332100" y="1217700"/>
            <a:ext cx="4171500" cy="1520100"/>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a:lvl5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Content Placeholder 9"/>
          <p:cNvSpPr>
            <a:spLocks noGrp="1"/>
          </p:cNvSpPr>
          <p:nvPr>
            <p:ph sz="quarter" idx="14" hasCustomPrompt="1"/>
          </p:nvPr>
        </p:nvSpPr>
        <p:spPr bwMode="gray">
          <a:xfrm>
            <a:off x="332100" y="3067046"/>
            <a:ext cx="4171500" cy="1520100"/>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a:lvl5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Title 2"/>
          <p:cNvSpPr>
            <a:spLocks noGrp="1"/>
          </p:cNvSpPr>
          <p:nvPr>
            <p:ph type="title" hasCustomPrompt="1"/>
          </p:nvPr>
        </p:nvSpPr>
        <p:spPr>
          <a:xfrm>
            <a:off x="332100" y="108000"/>
            <a:ext cx="8478000" cy="571500"/>
          </a:xfrm>
        </p:spPr>
        <p:txBody>
          <a:bodyPr>
            <a:noAutofit/>
          </a:bodyPr>
          <a:lstStyle/>
          <a:p>
            <a:r>
              <a:rPr lang="en-GB" noProof="0" dirty="0"/>
              <a:t>&lt;Insert title&gt;</a:t>
            </a:r>
          </a:p>
        </p:txBody>
      </p:sp>
      <p:sp>
        <p:nvSpPr>
          <p:cNvPr id="25" name="Content Placeholder 9"/>
          <p:cNvSpPr>
            <a:spLocks noGrp="1"/>
          </p:cNvSpPr>
          <p:nvPr>
            <p:ph sz="quarter" idx="15" hasCustomPrompt="1"/>
          </p:nvPr>
        </p:nvSpPr>
        <p:spPr bwMode="gray">
          <a:xfrm>
            <a:off x="4635898" y="1217700"/>
            <a:ext cx="4171500" cy="3352071"/>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a:lvl5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1435545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X2 Content _ With Headings">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bwMode="gray">
          <a:xfrm>
            <a:off x="332100" y="1217700"/>
            <a:ext cx="4171500" cy="3352071"/>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a:lvl5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Title 2"/>
          <p:cNvSpPr>
            <a:spLocks noGrp="1"/>
          </p:cNvSpPr>
          <p:nvPr>
            <p:ph type="title" hasCustomPrompt="1"/>
          </p:nvPr>
        </p:nvSpPr>
        <p:spPr>
          <a:xfrm>
            <a:off x="332100" y="108000"/>
            <a:ext cx="8478000" cy="571500"/>
          </a:xfrm>
        </p:spPr>
        <p:txBody>
          <a:bodyPr>
            <a:noAutofit/>
          </a:bodyPr>
          <a:lstStyle/>
          <a:p>
            <a:r>
              <a:rPr lang="en-GB" noProof="0" dirty="0"/>
              <a:t>&lt;Insert title&gt;</a:t>
            </a:r>
          </a:p>
        </p:txBody>
      </p:sp>
      <p:sp>
        <p:nvSpPr>
          <p:cNvPr id="25" name="Content Placeholder 9"/>
          <p:cNvSpPr>
            <a:spLocks noGrp="1"/>
          </p:cNvSpPr>
          <p:nvPr>
            <p:ph sz="quarter" idx="15" hasCustomPrompt="1"/>
          </p:nvPr>
        </p:nvSpPr>
        <p:spPr bwMode="gray">
          <a:xfrm>
            <a:off x="4635898" y="1217700"/>
            <a:ext cx="4171500" cy="1520100"/>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a:lvl5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6" name="Content Placeholder 9"/>
          <p:cNvSpPr>
            <a:spLocks noGrp="1"/>
          </p:cNvSpPr>
          <p:nvPr>
            <p:ph sz="quarter" idx="16" hasCustomPrompt="1"/>
          </p:nvPr>
        </p:nvSpPr>
        <p:spPr bwMode="gray">
          <a:xfrm>
            <a:off x="4635898" y="3067046"/>
            <a:ext cx="4171500" cy="1520100"/>
          </a:xfrm>
          <a:prstGeom prst="rect">
            <a:avLst/>
          </a:prstGeom>
        </p:spPr>
        <p:txBody>
          <a:bodyPr vert="horz" lIns="0" tIns="0" rIns="0" bIns="0" rtlCol="0">
            <a:noAutofit/>
          </a:bodyPr>
          <a:lstStyle>
            <a:lvl1pPr>
              <a:spcAft>
                <a:spcPts val="0"/>
              </a:spcAft>
              <a:defRPr lang="en-GB" noProof="0" dirty="0" smtClean="0"/>
            </a:lvl1pPr>
            <a:lvl2pPr>
              <a:spcBef>
                <a:spcPts val="450"/>
              </a:spcBef>
              <a:defRPr lang="en-GB" noProof="0" dirty="0" smtClean="0"/>
            </a:lvl2pPr>
            <a:lvl3pPr>
              <a:spcBef>
                <a:spcPts val="450"/>
              </a:spcBef>
              <a:defRPr lang="en-GB" noProof="0" dirty="0" smtClean="0"/>
            </a:lvl3pPr>
            <a:lvl4pPr>
              <a:spcBef>
                <a:spcPts val="450"/>
              </a:spcBef>
              <a:defRPr lang="en-GB" noProof="0" dirty="0" smtClean="0"/>
            </a:lvl4pPr>
            <a:lvl5pPr>
              <a:spcBef>
                <a:spcPts val="450"/>
              </a:spcBef>
              <a:defRPr lang="en-GB" noProof="0" dirty="0"/>
            </a:lvl5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2023686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noAutofit/>
          </a:bodyPr>
          <a:lstStyle/>
          <a:p>
            <a:r>
              <a:rPr lang="en-GB" noProof="0" dirty="0"/>
              <a:t>&lt;Insert title&gt;</a:t>
            </a:r>
          </a:p>
        </p:txBody>
      </p:sp>
    </p:spTree>
    <p:extLst>
      <p:ext uri="{BB962C8B-B14F-4D97-AF65-F5344CB8AC3E}">
        <p14:creationId xmlns:p14="http://schemas.microsoft.com/office/powerpoint/2010/main" val="4740265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79036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Non ToC Section Header">
    <p:spTree>
      <p:nvGrpSpPr>
        <p:cNvPr id="1" name=""/>
        <p:cNvGrpSpPr/>
        <p:nvPr/>
      </p:nvGrpSpPr>
      <p:grpSpPr>
        <a:xfrm>
          <a:off x="0" y="0"/>
          <a:ext cx="0" cy="0"/>
          <a:chOff x="0" y="0"/>
          <a:chExt cx="0" cy="0"/>
        </a:xfrm>
      </p:grpSpPr>
      <p:grpSp>
        <p:nvGrpSpPr>
          <p:cNvPr id="12" name="Group 11"/>
          <p:cNvGrpSpPr/>
          <p:nvPr userDrawn="1"/>
        </p:nvGrpSpPr>
        <p:grpSpPr>
          <a:xfrm>
            <a:off x="0" y="1"/>
            <a:ext cx="9144000" cy="5157425"/>
            <a:chOff x="0" y="0"/>
            <a:chExt cx="12192000" cy="6876567"/>
          </a:xfrm>
        </p:grpSpPr>
        <p:sp>
          <p:nvSpPr>
            <p:cNvPr id="10" name="Rectangle 9"/>
            <p:cNvSpPr/>
            <p:nvPr userDrawn="1"/>
          </p:nvSpPr>
          <p:spPr>
            <a:xfrm>
              <a:off x="0" y="0"/>
              <a:ext cx="12192000" cy="64168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13" noProof="0" dirty="0">
                <a:solidFill>
                  <a:schemeClr val="bg1"/>
                </a:solidFill>
              </a:endParaRPr>
            </a:p>
          </p:txBody>
        </p:sp>
        <p:sp>
          <p:nvSpPr>
            <p:cNvPr id="11" name="Rectangle 10"/>
            <p:cNvSpPr/>
            <p:nvPr userDrawn="1"/>
          </p:nvSpPr>
          <p:spPr>
            <a:xfrm>
              <a:off x="0" y="6416861"/>
              <a:ext cx="12192000" cy="45970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13" noProof="0" dirty="0">
                <a:solidFill>
                  <a:schemeClr val="bg1"/>
                </a:solidFill>
              </a:endParaRPr>
            </a:p>
          </p:txBody>
        </p:sp>
      </p:grpSp>
      <p:sp>
        <p:nvSpPr>
          <p:cNvPr id="2" name="NonTocSectionTitle"/>
          <p:cNvSpPr>
            <a:spLocks noGrp="1"/>
          </p:cNvSpPr>
          <p:nvPr>
            <p:ph type="title" hasCustomPrompt="1"/>
          </p:nvPr>
        </p:nvSpPr>
        <p:spPr bwMode="gray">
          <a:xfrm>
            <a:off x="332101" y="1967764"/>
            <a:ext cx="8109188" cy="487400"/>
          </a:xfrm>
        </p:spPr>
        <p:txBody>
          <a:bodyPr anchor="b" anchorCtr="0">
            <a:noAutofit/>
          </a:bodyPr>
          <a:lstStyle>
            <a:lvl1pPr algn="l">
              <a:lnSpc>
                <a:spcPts val="3000"/>
              </a:lnSpc>
              <a:defRPr sz="2850" b="1" cap="none" baseline="0">
                <a:solidFill>
                  <a:schemeClr val="bg1"/>
                </a:solidFill>
              </a:defRPr>
            </a:lvl1pPr>
          </a:lstStyle>
          <a:p>
            <a:r>
              <a:rPr lang="en-GB" noProof="0" dirty="0"/>
              <a:t>&lt;Insert section title&gt;</a:t>
            </a:r>
          </a:p>
        </p:txBody>
      </p:sp>
      <p:sp>
        <p:nvSpPr>
          <p:cNvPr id="3" name="Text Placeholder 2"/>
          <p:cNvSpPr>
            <a:spLocks noGrp="1"/>
          </p:cNvSpPr>
          <p:nvPr>
            <p:ph type="body" idx="1" hasCustomPrompt="1"/>
          </p:nvPr>
        </p:nvSpPr>
        <p:spPr bwMode="gray">
          <a:xfrm>
            <a:off x="332101" y="2472643"/>
            <a:ext cx="8109188" cy="1125140"/>
          </a:xfrm>
          <a:prstGeom prst="rect">
            <a:avLst/>
          </a:prstGeom>
        </p:spPr>
        <p:txBody>
          <a:bodyPr anchor="t" anchorCtr="0">
            <a:noAutofit/>
          </a:bodyPr>
          <a:lstStyle>
            <a:lvl1pPr marL="0" indent="0">
              <a:buNone/>
              <a:defRPr sz="2250" b="0">
                <a:solidFill>
                  <a:schemeClr val="bg1"/>
                </a:solidFill>
              </a:defRPr>
            </a:lvl1pPr>
            <a:lvl2pPr marL="342878" indent="0">
              <a:buNone/>
              <a:defRPr sz="1350">
                <a:solidFill>
                  <a:schemeClr val="tx1">
                    <a:tint val="75000"/>
                  </a:schemeClr>
                </a:solidFill>
              </a:defRPr>
            </a:lvl2pPr>
            <a:lvl3pPr marL="685757" indent="0">
              <a:buNone/>
              <a:defRPr sz="1200">
                <a:solidFill>
                  <a:schemeClr val="tx1">
                    <a:tint val="75000"/>
                  </a:schemeClr>
                </a:solidFill>
              </a:defRPr>
            </a:lvl3pPr>
            <a:lvl4pPr marL="1028635" indent="0">
              <a:buNone/>
              <a:defRPr sz="1050">
                <a:solidFill>
                  <a:schemeClr val="tx1">
                    <a:tint val="75000"/>
                  </a:schemeClr>
                </a:solidFill>
              </a:defRPr>
            </a:lvl4pPr>
            <a:lvl5pPr marL="1371513" indent="0">
              <a:buNone/>
              <a:defRPr sz="1050">
                <a:solidFill>
                  <a:schemeClr val="tx1">
                    <a:tint val="75000"/>
                  </a:schemeClr>
                </a:solidFill>
              </a:defRPr>
            </a:lvl5pPr>
            <a:lvl6pPr marL="1714391" indent="0">
              <a:buNone/>
              <a:defRPr sz="1050">
                <a:solidFill>
                  <a:schemeClr val="tx1">
                    <a:tint val="75000"/>
                  </a:schemeClr>
                </a:solidFill>
              </a:defRPr>
            </a:lvl6pPr>
            <a:lvl7pPr marL="2057270" indent="0">
              <a:buNone/>
              <a:defRPr sz="1050">
                <a:solidFill>
                  <a:schemeClr val="tx1">
                    <a:tint val="75000"/>
                  </a:schemeClr>
                </a:solidFill>
              </a:defRPr>
            </a:lvl7pPr>
            <a:lvl8pPr marL="2400149" indent="0">
              <a:buNone/>
              <a:defRPr sz="1050">
                <a:solidFill>
                  <a:schemeClr val="tx1">
                    <a:tint val="75000"/>
                  </a:schemeClr>
                </a:solidFill>
              </a:defRPr>
            </a:lvl8pPr>
            <a:lvl9pPr marL="2743027" indent="0">
              <a:buNone/>
              <a:defRPr sz="1050">
                <a:solidFill>
                  <a:schemeClr val="tx1">
                    <a:tint val="75000"/>
                  </a:schemeClr>
                </a:solidFill>
              </a:defRPr>
            </a:lvl9pPr>
          </a:lstStyle>
          <a:p>
            <a:pPr lvl="0"/>
            <a:r>
              <a:rPr lang="en-GB" noProof="0" dirty="0"/>
              <a:t>&lt;Sub title&gt;</a:t>
            </a:r>
          </a:p>
        </p:txBody>
      </p:sp>
      <p:sp>
        <p:nvSpPr>
          <p:cNvPr id="13" name="ctsFooter"/>
          <p:cNvSpPr txBox="1"/>
          <p:nvPr userDrawn="1"/>
        </p:nvSpPr>
        <p:spPr>
          <a:xfrm>
            <a:off x="332233" y="4841100"/>
            <a:ext cx="7021351" cy="275400"/>
          </a:xfrm>
          <a:prstGeom prst="rect">
            <a:avLst/>
          </a:prstGeom>
          <a:noFill/>
        </p:spPr>
        <p:txBody>
          <a:bodyPr wrap="square" lIns="0" tIns="0" rIns="0" bIns="0" rtlCol="0" anchor="ctr" anchorCtr="0">
            <a:noAutofit/>
          </a:bodyPr>
          <a:lstStyle/>
          <a:p>
            <a:r>
              <a:rPr lang="en-GB" sz="975">
                <a:solidFill>
                  <a:schemeClr val="bg1"/>
                </a:solidFill>
                <a:latin typeface="+mj-lt"/>
              </a:rPr>
              <a:t>October 2016</a:t>
            </a:r>
            <a:endParaRPr lang="en-GB" sz="975" dirty="0">
              <a:solidFill>
                <a:schemeClr val="bg1"/>
              </a:solidFill>
              <a:latin typeface="+mj-lt"/>
            </a:endParaRPr>
          </a:p>
        </p:txBody>
      </p:sp>
      <p:pic>
        <p:nvPicPr>
          <p:cNvPr id="14" name="Picture 13"/>
          <p:cNvPicPr>
            <a:picLocks noChangeAspect="1"/>
          </p:cNvPicPr>
          <p:nvPr userDrawn="1"/>
        </p:nvPicPr>
        <p:blipFill>
          <a:blip r:embed="rId2"/>
          <a:stretch>
            <a:fillRect/>
          </a:stretch>
        </p:blipFill>
        <p:spPr>
          <a:xfrm>
            <a:off x="7970400" y="4919400"/>
            <a:ext cx="850500" cy="144287"/>
          </a:xfrm>
          <a:prstGeom prst="rect">
            <a:avLst/>
          </a:prstGeom>
        </p:spPr>
      </p:pic>
    </p:spTree>
    <p:extLst>
      <p:ext uri="{BB962C8B-B14F-4D97-AF65-F5344CB8AC3E}">
        <p14:creationId xmlns:p14="http://schemas.microsoft.com/office/powerpoint/2010/main" val="24094444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End Page">
    <p:spTree>
      <p:nvGrpSpPr>
        <p:cNvPr id="1" name=""/>
        <p:cNvGrpSpPr/>
        <p:nvPr/>
      </p:nvGrpSpPr>
      <p:grpSpPr>
        <a:xfrm>
          <a:off x="0" y="0"/>
          <a:ext cx="0" cy="0"/>
          <a:chOff x="0" y="0"/>
          <a:chExt cx="0" cy="0"/>
        </a:xfrm>
      </p:grpSpPr>
      <p:grpSp>
        <p:nvGrpSpPr>
          <p:cNvPr id="14" name="Group 13"/>
          <p:cNvGrpSpPr/>
          <p:nvPr userDrawn="1"/>
        </p:nvGrpSpPr>
        <p:grpSpPr>
          <a:xfrm>
            <a:off x="0" y="0"/>
            <a:ext cx="9144000" cy="5143500"/>
            <a:chOff x="0" y="0"/>
            <a:chExt cx="12192000" cy="6858000"/>
          </a:xfrm>
        </p:grpSpPr>
        <p:sp>
          <p:nvSpPr>
            <p:cNvPr id="15" name="Rectangle 14"/>
            <p:cNvSpPr/>
            <p:nvPr userDrawn="1"/>
          </p:nvSpPr>
          <p:spPr>
            <a:xfrm>
              <a:off x="0" y="0"/>
              <a:ext cx="12192000" cy="548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13" noProof="0" dirty="0"/>
            </a:p>
          </p:txBody>
        </p:sp>
        <p:sp>
          <p:nvSpPr>
            <p:cNvPr id="16" name="Rectangle 15"/>
            <p:cNvSpPr/>
            <p:nvPr userDrawn="1"/>
          </p:nvSpPr>
          <p:spPr>
            <a:xfrm>
              <a:off x="0" y="5486400"/>
              <a:ext cx="12192000" cy="137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13" noProof="0" dirty="0"/>
            </a:p>
          </p:txBody>
        </p:sp>
      </p:grpSp>
      <p:pic>
        <p:nvPicPr>
          <p:cNvPr id="17" name="Picture 16"/>
          <p:cNvPicPr>
            <a:picLocks noChangeAspect="1"/>
          </p:cNvPicPr>
          <p:nvPr userDrawn="1"/>
        </p:nvPicPr>
        <p:blipFill>
          <a:blip r:embed="rId2"/>
          <a:stretch>
            <a:fillRect/>
          </a:stretch>
        </p:blipFill>
        <p:spPr>
          <a:xfrm>
            <a:off x="6215063" y="4427072"/>
            <a:ext cx="2582796" cy="442857"/>
          </a:xfrm>
          <a:prstGeom prst="rect">
            <a:avLst/>
          </a:prstGeom>
        </p:spPr>
      </p:pic>
      <p:sp>
        <p:nvSpPr>
          <p:cNvPr id="2" name="NonTocSectionTitle"/>
          <p:cNvSpPr>
            <a:spLocks noGrp="1"/>
          </p:cNvSpPr>
          <p:nvPr>
            <p:ph type="title" hasCustomPrompt="1"/>
          </p:nvPr>
        </p:nvSpPr>
        <p:spPr bwMode="gray">
          <a:xfrm>
            <a:off x="332101" y="1967764"/>
            <a:ext cx="8109188" cy="487400"/>
          </a:xfrm>
        </p:spPr>
        <p:txBody>
          <a:bodyPr anchor="b" anchorCtr="0">
            <a:noAutofit/>
          </a:bodyPr>
          <a:lstStyle>
            <a:lvl1pPr algn="l">
              <a:lnSpc>
                <a:spcPts val="3000"/>
              </a:lnSpc>
              <a:defRPr sz="2850" b="1" cap="none" baseline="0">
                <a:solidFill>
                  <a:schemeClr val="bg1"/>
                </a:solidFill>
              </a:defRPr>
            </a:lvl1pPr>
          </a:lstStyle>
          <a:p>
            <a:r>
              <a:rPr lang="en-GB" noProof="0" dirty="0"/>
              <a:t>&lt;Insert section title&gt;</a:t>
            </a:r>
          </a:p>
        </p:txBody>
      </p:sp>
      <p:sp>
        <p:nvSpPr>
          <p:cNvPr id="18" name="Date Placeholder 3"/>
          <p:cNvSpPr>
            <a:spLocks noGrp="1"/>
          </p:cNvSpPr>
          <p:nvPr>
            <p:ph type="dt" sz="half" idx="11"/>
          </p:nvPr>
        </p:nvSpPr>
        <p:spPr>
          <a:xfrm>
            <a:off x="332101" y="4576757"/>
            <a:ext cx="4120532" cy="275152"/>
          </a:xfrm>
          <a:prstGeom prst="rect">
            <a:avLst/>
          </a:prstGeom>
        </p:spPr>
        <p:txBody>
          <a:bodyPr lIns="0" tIns="0" rIns="0" bIns="0"/>
          <a:lstStyle>
            <a:lvl1pPr>
              <a:defRPr sz="1650" b="0">
                <a:solidFill>
                  <a:schemeClr val="accent2"/>
                </a:solidFill>
                <a:latin typeface="+mj-lt"/>
              </a:defRPr>
            </a:lvl1pPr>
          </a:lstStyle>
          <a:p>
            <a:r>
              <a:rPr lang="en-US"/>
              <a:t>Insert Date with 'Insert - Header &amp; Footer'</a:t>
            </a:r>
            <a:endParaRPr lang="en-GB" dirty="0"/>
          </a:p>
        </p:txBody>
      </p:sp>
      <p:sp>
        <p:nvSpPr>
          <p:cNvPr id="3" name="TextBox 2"/>
          <p:cNvSpPr txBox="1"/>
          <p:nvPr userDrawn="1"/>
        </p:nvSpPr>
        <p:spPr>
          <a:xfrm>
            <a:off x="332100" y="3782700"/>
            <a:ext cx="8145900" cy="199800"/>
          </a:xfrm>
          <a:prstGeom prst="rect">
            <a:avLst/>
          </a:prstGeom>
          <a:noFill/>
        </p:spPr>
        <p:txBody>
          <a:bodyPr wrap="square" lIns="0" tIns="0" rIns="0" bIns="0" rtlCol="0" anchor="ctr" anchorCtr="0">
            <a:noAutofit/>
          </a:bodyPr>
          <a:lstStyle/>
          <a:p>
            <a:pPr algn="l">
              <a:spcBef>
                <a:spcPts val="900"/>
              </a:spcBef>
              <a:spcAft>
                <a:spcPts val="750"/>
              </a:spcAft>
            </a:pPr>
            <a:r>
              <a:rPr lang="en-GB" sz="1013" dirty="0">
                <a:solidFill>
                  <a:schemeClr val="bg1"/>
                </a:solidFill>
              </a:rPr>
              <a:t>Interested in other GTM Research products and services? Please visit www.gtmresearch.com or contact sales@greentechmedia.com</a:t>
            </a:r>
          </a:p>
        </p:txBody>
      </p:sp>
    </p:spTree>
    <p:extLst>
      <p:ext uri="{BB962C8B-B14F-4D97-AF65-F5344CB8AC3E}">
        <p14:creationId xmlns:p14="http://schemas.microsoft.com/office/powerpoint/2010/main" val="40557352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3" name="Rectangle 2"/>
          <p:cNvSpPr/>
          <p:nvPr userDrawn="1"/>
        </p:nvSpPr>
        <p:spPr>
          <a:xfrm>
            <a:off x="2286000" y="2888916"/>
            <a:ext cx="4572000" cy="923330"/>
          </a:xfrm>
          <a:prstGeom prst="rect">
            <a:avLst/>
          </a:prstGeom>
        </p:spPr>
        <p:txBody>
          <a:bodyPr>
            <a:spAutoFit/>
          </a:bodyPr>
          <a:lstStyle/>
          <a:p>
            <a:pPr algn="ctr"/>
            <a:r>
              <a:rPr lang="en-US" sz="1350" i="1" dirty="0">
                <a:solidFill>
                  <a:prstClr val="white"/>
                </a:solidFill>
                <a:latin typeface="Arial" panose="020B0604020202020204" pitchFamily="34" charset="0"/>
                <a:cs typeface="Arial" panose="020B0604020202020204" pitchFamily="34" charset="0"/>
              </a:rPr>
              <a:t>“Power the economic growth and competitiveness of New York State by providing customers with low cost, clean, reliable power and the innovative energy infrastructure and services they value”</a:t>
            </a:r>
          </a:p>
        </p:txBody>
      </p:sp>
      <p:sp>
        <p:nvSpPr>
          <p:cNvPr id="5" name="Rectangle 4"/>
          <p:cNvSpPr/>
          <p:nvPr userDrawn="1"/>
        </p:nvSpPr>
        <p:spPr>
          <a:xfrm>
            <a:off x="2286000" y="2412132"/>
            <a:ext cx="4572000" cy="369332"/>
          </a:xfrm>
          <a:prstGeom prst="rect">
            <a:avLst/>
          </a:prstGeom>
        </p:spPr>
        <p:txBody>
          <a:bodyPr>
            <a:spAutoFit/>
          </a:bodyPr>
          <a:lstStyle/>
          <a:p>
            <a:pPr algn="ctr"/>
            <a:r>
              <a:rPr lang="en-US" sz="1800" b="1" i="0" dirty="0">
                <a:solidFill>
                  <a:prstClr val="white"/>
                </a:solidFill>
                <a:latin typeface="Arial" panose="020B0604020202020204" pitchFamily="34" charset="0"/>
                <a:cs typeface="Arial" panose="020B0604020202020204" pitchFamily="34" charset="0"/>
              </a:rPr>
              <a:t>Our Mission</a:t>
            </a:r>
          </a:p>
        </p:txBody>
      </p:sp>
      <p:sp>
        <p:nvSpPr>
          <p:cNvPr id="6" name="Rectangle 5"/>
          <p:cNvSpPr/>
          <p:nvPr userDrawn="1"/>
        </p:nvSpPr>
        <p:spPr>
          <a:xfrm>
            <a:off x="1485018" y="4317552"/>
            <a:ext cx="6173965" cy="59518"/>
          </a:xfrm>
          <a:prstGeom prst="rect">
            <a:avLst/>
          </a:prstGeom>
          <a:solidFill>
            <a:srgbClr val="FCB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013" dirty="0">
              <a:solidFill>
                <a:prstClr val="white"/>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64368" y="998221"/>
            <a:ext cx="3415265" cy="824562"/>
          </a:xfrm>
          <a:prstGeom prst="rect">
            <a:avLst/>
          </a:prstGeom>
        </p:spPr>
      </p:pic>
    </p:spTree>
    <p:extLst>
      <p:ext uri="{BB962C8B-B14F-4D97-AF65-F5344CB8AC3E}">
        <p14:creationId xmlns:p14="http://schemas.microsoft.com/office/powerpoint/2010/main" val="42562332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End Slide">
    <p:spTree>
      <p:nvGrpSpPr>
        <p:cNvPr id="1" name=""/>
        <p:cNvGrpSpPr/>
        <p:nvPr/>
      </p:nvGrpSpPr>
      <p:grpSpPr>
        <a:xfrm>
          <a:off x="0" y="0"/>
          <a:ext cx="0" cy="0"/>
          <a:chOff x="0" y="0"/>
          <a:chExt cx="0" cy="0"/>
        </a:xfrm>
      </p:grpSpPr>
      <p:sp>
        <p:nvSpPr>
          <p:cNvPr id="5" name="Rectangle 4"/>
          <p:cNvSpPr/>
          <p:nvPr userDrawn="1"/>
        </p:nvSpPr>
        <p:spPr>
          <a:xfrm>
            <a:off x="2286000" y="2791274"/>
            <a:ext cx="4572000" cy="369332"/>
          </a:xfrm>
          <a:prstGeom prst="rect">
            <a:avLst/>
          </a:prstGeom>
        </p:spPr>
        <p:txBody>
          <a:bodyPr>
            <a:spAutoFit/>
          </a:bodyPr>
          <a:lstStyle/>
          <a:p>
            <a:pPr algn="ctr"/>
            <a:r>
              <a:rPr lang="en-US" sz="1800" b="1" i="0" dirty="0">
                <a:solidFill>
                  <a:prstClr val="white"/>
                </a:solidFill>
                <a:latin typeface="Arial" panose="020B0604020202020204" pitchFamily="34" charset="0"/>
                <a:cs typeface="Arial" panose="020B0604020202020204" pitchFamily="34" charset="0"/>
              </a:rPr>
              <a:t>Generating more than electricity</a:t>
            </a:r>
          </a:p>
        </p:txBody>
      </p:sp>
      <p:sp>
        <p:nvSpPr>
          <p:cNvPr id="6" name="Rectangle 5"/>
          <p:cNvSpPr/>
          <p:nvPr userDrawn="1"/>
        </p:nvSpPr>
        <p:spPr>
          <a:xfrm>
            <a:off x="1485018" y="4317552"/>
            <a:ext cx="6173965" cy="59518"/>
          </a:xfrm>
          <a:prstGeom prst="rect">
            <a:avLst/>
          </a:prstGeom>
          <a:solidFill>
            <a:srgbClr val="FCB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013" dirty="0">
              <a:solidFill>
                <a:prstClr val="white"/>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64368" y="998221"/>
            <a:ext cx="3415265" cy="824562"/>
          </a:xfrm>
          <a:prstGeom prst="rect">
            <a:avLst/>
          </a:prstGeom>
        </p:spPr>
      </p:pic>
    </p:spTree>
    <p:extLst>
      <p:ext uri="{BB962C8B-B14F-4D97-AF65-F5344CB8AC3E}">
        <p14:creationId xmlns:p14="http://schemas.microsoft.com/office/powerpoint/2010/main" val="28743952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End Slide">
    <p:spTree>
      <p:nvGrpSpPr>
        <p:cNvPr id="1" name=""/>
        <p:cNvGrpSpPr/>
        <p:nvPr/>
      </p:nvGrpSpPr>
      <p:grpSpPr>
        <a:xfrm>
          <a:off x="0" y="0"/>
          <a:ext cx="0" cy="0"/>
          <a:chOff x="0" y="0"/>
          <a:chExt cx="0" cy="0"/>
        </a:xfrm>
      </p:grpSpPr>
      <p:grpSp>
        <p:nvGrpSpPr>
          <p:cNvPr id="8" name="Group 7"/>
          <p:cNvGrpSpPr/>
          <p:nvPr userDrawn="1"/>
        </p:nvGrpSpPr>
        <p:grpSpPr>
          <a:xfrm rot="1502371">
            <a:off x="6309162" y="1888431"/>
            <a:ext cx="588708" cy="1040024"/>
            <a:chOff x="5869118" y="1864852"/>
            <a:chExt cx="1875650" cy="3313563"/>
          </a:xfrm>
        </p:grpSpPr>
        <p:grpSp>
          <p:nvGrpSpPr>
            <p:cNvPr id="9" name="Group 8"/>
            <p:cNvGrpSpPr/>
            <p:nvPr/>
          </p:nvGrpSpPr>
          <p:grpSpPr>
            <a:xfrm>
              <a:off x="5869118" y="1864852"/>
              <a:ext cx="1875650" cy="3313563"/>
              <a:chOff x="3509193" y="2208611"/>
              <a:chExt cx="2116248" cy="3738609"/>
            </a:xfrm>
          </p:grpSpPr>
          <p:sp>
            <p:nvSpPr>
              <p:cNvPr id="11" name="Freeform 10"/>
              <p:cNvSpPr/>
              <p:nvPr/>
            </p:nvSpPr>
            <p:spPr>
              <a:xfrm>
                <a:off x="3509193" y="2208611"/>
                <a:ext cx="2116248" cy="2832368"/>
              </a:xfrm>
              <a:custGeom>
                <a:avLst/>
                <a:gdLst>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88" h="1692915">
                    <a:moveTo>
                      <a:pt x="632444" y="0"/>
                    </a:moveTo>
                    <a:cubicBezTo>
                      <a:pt x="981735" y="7"/>
                      <a:pt x="1264888" y="283165"/>
                      <a:pt x="1264888" y="632458"/>
                    </a:cubicBezTo>
                    <a:cubicBezTo>
                      <a:pt x="1264888" y="722053"/>
                      <a:pt x="1243620" y="800469"/>
                      <a:pt x="1212119" y="884292"/>
                    </a:cubicBezTo>
                    <a:cubicBezTo>
                      <a:pt x="1180618" y="968115"/>
                      <a:pt x="1050676" y="1160843"/>
                      <a:pt x="1026175" y="1272920"/>
                    </a:cubicBezTo>
                    <a:cubicBezTo>
                      <a:pt x="1001674" y="1384997"/>
                      <a:pt x="991603" y="1515490"/>
                      <a:pt x="972341" y="1634870"/>
                    </a:cubicBezTo>
                    <a:cubicBezTo>
                      <a:pt x="968177" y="1660679"/>
                      <a:pt x="924730" y="1693412"/>
                      <a:pt x="888132" y="1692910"/>
                    </a:cubicBezTo>
                    <a:cubicBezTo>
                      <a:pt x="851534" y="1692408"/>
                      <a:pt x="429358" y="1692412"/>
                      <a:pt x="376023" y="1692910"/>
                    </a:cubicBezTo>
                    <a:cubicBezTo>
                      <a:pt x="322688" y="1693408"/>
                      <a:pt x="296690" y="1660741"/>
                      <a:pt x="292547" y="1635064"/>
                    </a:cubicBezTo>
                    <a:cubicBezTo>
                      <a:pt x="273285" y="1515684"/>
                      <a:pt x="263214" y="1385191"/>
                      <a:pt x="238713" y="1273114"/>
                    </a:cubicBezTo>
                    <a:cubicBezTo>
                      <a:pt x="214212" y="1161037"/>
                      <a:pt x="84270" y="968309"/>
                      <a:pt x="52769" y="884486"/>
                    </a:cubicBezTo>
                    <a:cubicBezTo>
                      <a:pt x="21268" y="800663"/>
                      <a:pt x="0" y="722247"/>
                      <a:pt x="0" y="632652"/>
                    </a:cubicBezTo>
                    <a:cubicBezTo>
                      <a:pt x="0" y="283359"/>
                      <a:pt x="283153" y="201"/>
                      <a:pt x="632444" y="194"/>
                    </a:cubicBezTo>
                    <a:lnTo>
                      <a:pt x="632444" y="0"/>
                    </a:lnTo>
                    <a:close/>
                  </a:path>
                </a:pathLst>
              </a:custGeom>
              <a:solidFill>
                <a:srgbClr val="00B0F0">
                  <a:alpha val="20000"/>
                </a:srgbClr>
              </a:solidFill>
              <a:ln>
                <a:noFill/>
              </a:ln>
              <a:effectLst/>
              <a:scene3d>
                <a:camera prst="orthographicFront">
                  <a:rot lat="0" lon="0" rev="0"/>
                </a:camera>
                <a:lightRig rig="twoPt" dir="t">
                  <a:rot lat="0" lon="0" rev="0"/>
                </a:lightRig>
              </a:scene3d>
              <a:sp3d prstMaterial="clear">
                <a:bevelT w="317500" h="1905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nvGrpSpPr>
              <p:cNvPr id="12" name="Group 11"/>
              <p:cNvGrpSpPr/>
              <p:nvPr/>
            </p:nvGrpSpPr>
            <p:grpSpPr>
              <a:xfrm>
                <a:off x="4221220" y="3554960"/>
                <a:ext cx="700181" cy="1502973"/>
                <a:chOff x="6480420" y="3161623"/>
                <a:chExt cx="813818" cy="1746901"/>
              </a:xfrm>
            </p:grpSpPr>
            <p:sp>
              <p:nvSpPr>
                <p:cNvPr id="21" name="Freeform 20"/>
                <p:cNvSpPr/>
                <p:nvPr/>
              </p:nvSpPr>
              <p:spPr>
                <a:xfrm>
                  <a:off x="6747926" y="4123689"/>
                  <a:ext cx="27850" cy="772043"/>
                </a:xfrm>
                <a:custGeom>
                  <a:avLst/>
                  <a:gdLst>
                    <a:gd name="connsiteX0" fmla="*/ 0 w 34290"/>
                    <a:gd name="connsiteY0" fmla="*/ 0 h 950595"/>
                    <a:gd name="connsiteX1" fmla="*/ 34290 w 34290"/>
                    <a:gd name="connsiteY1" fmla="*/ 950595 h 950595"/>
                  </a:gdLst>
                  <a:ahLst/>
                  <a:cxnLst>
                    <a:cxn ang="0">
                      <a:pos x="connsiteX0" y="connsiteY0"/>
                    </a:cxn>
                    <a:cxn ang="0">
                      <a:pos x="connsiteX1" y="connsiteY1"/>
                    </a:cxn>
                  </a:cxnLst>
                  <a:rect l="l" t="t" r="r" b="b"/>
                  <a:pathLst>
                    <a:path w="34290" h="950595">
                      <a:moveTo>
                        <a:pt x="0" y="0"/>
                      </a:moveTo>
                      <a:lnTo>
                        <a:pt x="34290" y="950595"/>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2" name="Freeform 21"/>
                <p:cNvSpPr/>
                <p:nvPr/>
              </p:nvSpPr>
              <p:spPr>
                <a:xfrm>
                  <a:off x="7003162" y="4123690"/>
                  <a:ext cx="21660" cy="770496"/>
                </a:xfrm>
                <a:custGeom>
                  <a:avLst/>
                  <a:gdLst>
                    <a:gd name="connsiteX0" fmla="*/ 26670 w 26670"/>
                    <a:gd name="connsiteY0" fmla="*/ 0 h 948690"/>
                    <a:gd name="connsiteX1" fmla="*/ 0 w 26670"/>
                    <a:gd name="connsiteY1" fmla="*/ 948690 h 948690"/>
                  </a:gdLst>
                  <a:ahLst/>
                  <a:cxnLst>
                    <a:cxn ang="0">
                      <a:pos x="connsiteX0" y="connsiteY0"/>
                    </a:cxn>
                    <a:cxn ang="0">
                      <a:pos x="connsiteX1" y="connsiteY1"/>
                    </a:cxn>
                  </a:cxnLst>
                  <a:rect l="l" t="t" r="r" b="b"/>
                  <a:pathLst>
                    <a:path w="26670" h="948690">
                      <a:moveTo>
                        <a:pt x="26670" y="0"/>
                      </a:moveTo>
                      <a:lnTo>
                        <a:pt x="0" y="948690"/>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3" name="Freeform 22"/>
                <p:cNvSpPr/>
                <p:nvPr/>
              </p:nvSpPr>
              <p:spPr>
                <a:xfrm>
                  <a:off x="6672271" y="3166397"/>
                  <a:ext cx="120681" cy="521400"/>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123 w 148713"/>
                    <a:gd name="connsiteY0" fmla="*/ 0 h 641985"/>
                    <a:gd name="connsiteX1" fmla="*/ 3933 w 148713"/>
                    <a:gd name="connsiteY1" fmla="*/ 110490 h 641985"/>
                    <a:gd name="connsiteX2" fmla="*/ 34413 w 148713"/>
                    <a:gd name="connsiteY2" fmla="*/ 129540 h 641985"/>
                    <a:gd name="connsiteX3" fmla="*/ 57273 w 148713"/>
                    <a:gd name="connsiteY3" fmla="*/ 87630 h 641985"/>
                    <a:gd name="connsiteX4" fmla="*/ 30603 w 148713"/>
                    <a:gd name="connsiteY4" fmla="*/ 57150 h 641985"/>
                    <a:gd name="connsiteX5" fmla="*/ 15363 w 148713"/>
                    <a:gd name="connsiteY5" fmla="*/ 144780 h 641985"/>
                    <a:gd name="connsiteX6" fmla="*/ 148713 w 148713"/>
                    <a:gd name="connsiteY6" fmla="*/ 641985 h 641985"/>
                    <a:gd name="connsiteX0" fmla="*/ 0 w 148590"/>
                    <a:gd name="connsiteY0" fmla="*/ 0 h 641985"/>
                    <a:gd name="connsiteX1" fmla="*/ 3810 w 148590"/>
                    <a:gd name="connsiteY1" fmla="*/ 110490 h 641985"/>
                    <a:gd name="connsiteX2" fmla="*/ 34290 w 148590"/>
                    <a:gd name="connsiteY2" fmla="*/ 129540 h 641985"/>
                    <a:gd name="connsiteX3" fmla="*/ 57150 w 148590"/>
                    <a:gd name="connsiteY3" fmla="*/ 87630 h 641985"/>
                    <a:gd name="connsiteX4" fmla="*/ 30480 w 148590"/>
                    <a:gd name="connsiteY4" fmla="*/ 57150 h 641985"/>
                    <a:gd name="connsiteX5" fmla="*/ 15240 w 148590"/>
                    <a:gd name="connsiteY5" fmla="*/ 144780 h 641985"/>
                    <a:gd name="connsiteX6" fmla="*/ 148590 w 148590"/>
                    <a:gd name="connsiteY6" fmla="*/ 641985 h 64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 h="641985">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931" y="57677"/>
                        <a:pt x="30480" y="57150"/>
                      </a:cubicBezTo>
                      <a:cubicBezTo>
                        <a:pt x="8255" y="56515"/>
                        <a:pt x="-4445" y="47308"/>
                        <a:pt x="15240" y="144780"/>
                      </a:cubicBezTo>
                      <a:cubicBezTo>
                        <a:pt x="34925" y="242253"/>
                        <a:pt x="104140" y="467995"/>
                        <a:pt x="148590" y="641985"/>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4" name="Freeform 23"/>
                <p:cNvSpPr/>
                <p:nvPr/>
              </p:nvSpPr>
              <p:spPr>
                <a:xfrm rot="21360000" flipH="1">
                  <a:off x="6946994" y="3161623"/>
                  <a:ext cx="116190" cy="521665"/>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061" h="642311">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877" y="55639"/>
                        <a:pt x="30480" y="57150"/>
                      </a:cubicBezTo>
                      <a:cubicBezTo>
                        <a:pt x="6441" y="59125"/>
                        <a:pt x="-3523" y="47253"/>
                        <a:pt x="15240" y="144780"/>
                      </a:cubicBezTo>
                      <a:cubicBezTo>
                        <a:pt x="34003" y="242307"/>
                        <a:pt x="98611" y="468321"/>
                        <a:pt x="143061" y="642311"/>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5" name="Freeform 24"/>
                <p:cNvSpPr/>
                <p:nvPr/>
              </p:nvSpPr>
              <p:spPr>
                <a:xfrm>
                  <a:off x="6480420" y="3237725"/>
                  <a:ext cx="812786" cy="82516"/>
                </a:xfrm>
                <a:custGeom>
                  <a:avLst/>
                  <a:gdLst>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1000760" h="101600">
                      <a:moveTo>
                        <a:pt x="0" y="86360"/>
                      </a:moveTo>
                      <a:cubicBezTo>
                        <a:pt x="143087" y="92287"/>
                        <a:pt x="174413" y="55033"/>
                        <a:pt x="261620" y="5080"/>
                      </a:cubicBezTo>
                      <a:cubicBezTo>
                        <a:pt x="395393" y="33867"/>
                        <a:pt x="516467" y="37253"/>
                        <a:pt x="662940" y="0"/>
                      </a:cubicBezTo>
                      <a:cubicBezTo>
                        <a:pt x="813647" y="69427"/>
                        <a:pt x="865293" y="90593"/>
                        <a:pt x="1000760" y="101600"/>
                      </a:cubicBezTo>
                    </a:path>
                  </a:pathLst>
                </a:custGeom>
                <a:noFill/>
                <a:ln w="19050" cap="rnd" cmpd="sng">
                  <a:solidFill>
                    <a:schemeClr val="tx1">
                      <a:lumMod val="50000"/>
                      <a:lumOff val="50000"/>
                    </a:schemeClr>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6" name="Freeform 25"/>
                <p:cNvSpPr/>
                <p:nvPr/>
              </p:nvSpPr>
              <p:spPr>
                <a:xfrm flipH="1">
                  <a:off x="6678460" y="3749170"/>
                  <a:ext cx="412581" cy="1159354"/>
                </a:xfrm>
                <a:custGeom>
                  <a:avLst/>
                  <a:gdLst/>
                  <a:ahLst/>
                  <a:cxnLst/>
                  <a:rect l="l" t="t" r="r" b="b"/>
                  <a:pathLst>
                    <a:path w="508000" h="1427480">
                      <a:moveTo>
                        <a:pt x="254000" y="647700"/>
                      </a:moveTo>
                      <a:cubicBezTo>
                        <a:pt x="294681" y="647700"/>
                        <a:pt x="327660" y="680679"/>
                        <a:pt x="327660" y="721360"/>
                      </a:cubicBezTo>
                      <a:cubicBezTo>
                        <a:pt x="327660" y="762041"/>
                        <a:pt x="294681" y="795020"/>
                        <a:pt x="254000" y="795020"/>
                      </a:cubicBezTo>
                      <a:cubicBezTo>
                        <a:pt x="213319" y="795020"/>
                        <a:pt x="180340" y="762041"/>
                        <a:pt x="180340" y="721360"/>
                      </a:cubicBezTo>
                      <a:cubicBezTo>
                        <a:pt x="180340" y="680679"/>
                        <a:pt x="213319" y="647700"/>
                        <a:pt x="254000" y="647700"/>
                      </a:cubicBezTo>
                      <a:close/>
                      <a:moveTo>
                        <a:pt x="325120" y="0"/>
                      </a:moveTo>
                      <a:lnTo>
                        <a:pt x="254000" y="2453"/>
                      </a:lnTo>
                      <a:lnTo>
                        <a:pt x="182880" y="0"/>
                      </a:lnTo>
                      <a:lnTo>
                        <a:pt x="182880" y="375920"/>
                      </a:lnTo>
                      <a:cubicBezTo>
                        <a:pt x="178647" y="395393"/>
                        <a:pt x="191135" y="416348"/>
                        <a:pt x="170180" y="434340"/>
                      </a:cubicBezTo>
                      <a:cubicBezTo>
                        <a:pt x="149225" y="452332"/>
                        <a:pt x="11007" y="447040"/>
                        <a:pt x="10160" y="551180"/>
                      </a:cubicBezTo>
                      <a:cubicBezTo>
                        <a:pt x="9313" y="655320"/>
                        <a:pt x="53975" y="768138"/>
                        <a:pt x="53340" y="817880"/>
                      </a:cubicBezTo>
                      <a:cubicBezTo>
                        <a:pt x="52705" y="867622"/>
                        <a:pt x="0" y="937472"/>
                        <a:pt x="0" y="995680"/>
                      </a:cubicBezTo>
                      <a:lnTo>
                        <a:pt x="0" y="1427480"/>
                      </a:lnTo>
                      <a:lnTo>
                        <a:pt x="254000" y="1427480"/>
                      </a:lnTo>
                      <a:lnTo>
                        <a:pt x="508000" y="1427480"/>
                      </a:lnTo>
                      <a:lnTo>
                        <a:pt x="508000" y="995680"/>
                      </a:lnTo>
                      <a:cubicBezTo>
                        <a:pt x="508000" y="937472"/>
                        <a:pt x="455295" y="867622"/>
                        <a:pt x="454660" y="817880"/>
                      </a:cubicBezTo>
                      <a:cubicBezTo>
                        <a:pt x="454025" y="768138"/>
                        <a:pt x="498687" y="655320"/>
                        <a:pt x="497840" y="551180"/>
                      </a:cubicBezTo>
                      <a:cubicBezTo>
                        <a:pt x="496993" y="447040"/>
                        <a:pt x="358775" y="452332"/>
                        <a:pt x="337820" y="434340"/>
                      </a:cubicBezTo>
                      <a:cubicBezTo>
                        <a:pt x="316865" y="416348"/>
                        <a:pt x="329353" y="395393"/>
                        <a:pt x="325120" y="375920"/>
                      </a:cubicBezTo>
                      <a:close/>
                    </a:path>
                  </a:pathLst>
                </a:custGeom>
                <a:solidFill>
                  <a:schemeClr val="bg1">
                    <a:alpha val="20000"/>
                  </a:schemeClr>
                </a:solidFill>
                <a:ln>
                  <a:noFill/>
                </a:ln>
                <a:effectLst/>
                <a:scene3d>
                  <a:camera prst="orthographicFront">
                    <a:rot lat="0" lon="0" rev="0"/>
                  </a:camera>
                  <a:lightRig rig="chilly" dir="t"/>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7" name="Freeform 26"/>
                <p:cNvSpPr/>
                <p:nvPr/>
              </p:nvSpPr>
              <p:spPr>
                <a:xfrm>
                  <a:off x="6480420"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8" name="Freeform 27"/>
                <p:cNvSpPr/>
                <p:nvPr/>
              </p:nvSpPr>
              <p:spPr>
                <a:xfrm flipH="1">
                  <a:off x="7028123"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9" name="Rounded Rectangle 28"/>
                <p:cNvSpPr/>
                <p:nvPr/>
              </p:nvSpPr>
              <p:spPr>
                <a:xfrm>
                  <a:off x="6771291" y="3686870"/>
                  <a:ext cx="222795" cy="61888"/>
                </a:xfrm>
                <a:prstGeom prst="roundRect">
                  <a:avLst>
                    <a:gd name="adj" fmla="val 50000"/>
                  </a:avLst>
                </a:prstGeom>
                <a:solidFill>
                  <a:schemeClr val="bg1">
                    <a:alpha val="2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grpSp>
            <p:nvGrpSpPr>
              <p:cNvPr id="13" name="Group 12"/>
              <p:cNvGrpSpPr/>
              <p:nvPr/>
            </p:nvGrpSpPr>
            <p:grpSpPr>
              <a:xfrm>
                <a:off x="4077456" y="5030272"/>
                <a:ext cx="983340" cy="916948"/>
                <a:chOff x="4077456" y="5030272"/>
                <a:chExt cx="983340" cy="916948"/>
              </a:xfrm>
            </p:grpSpPr>
            <p:sp>
              <p:nvSpPr>
                <p:cNvPr id="15" name="Freeform 14"/>
                <p:cNvSpPr/>
                <p:nvPr/>
              </p:nvSpPr>
              <p:spPr>
                <a:xfrm>
                  <a:off x="4077456" y="5030272"/>
                  <a:ext cx="983340" cy="827082"/>
                </a:xfrm>
                <a:custGeom>
                  <a:avLst/>
                  <a:gdLst>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303"/>
                    <a:gd name="connsiteY0" fmla="*/ 0 h 1183640"/>
                    <a:gd name="connsiteX1" fmla="*/ 1402080 w 1407303"/>
                    <a:gd name="connsiteY1" fmla="*/ 177800 h 1183640"/>
                    <a:gd name="connsiteX2" fmla="*/ 1325880 w 1407303"/>
                    <a:gd name="connsiteY2" fmla="*/ 238760 h 1183640"/>
                    <a:gd name="connsiteX3" fmla="*/ 1407160 w 1407303"/>
                    <a:gd name="connsiteY3" fmla="*/ 340360 h 1183640"/>
                    <a:gd name="connsiteX4" fmla="*/ 1330960 w 1407303"/>
                    <a:gd name="connsiteY4" fmla="*/ 421640 h 1183640"/>
                    <a:gd name="connsiteX5" fmla="*/ 1402080 w 1407303"/>
                    <a:gd name="connsiteY5" fmla="*/ 518160 h 1183640"/>
                    <a:gd name="connsiteX6" fmla="*/ 1325880 w 1407303"/>
                    <a:gd name="connsiteY6" fmla="*/ 589280 h 1183640"/>
                    <a:gd name="connsiteX7" fmla="*/ 1407160 w 1407303"/>
                    <a:gd name="connsiteY7" fmla="*/ 690880 h 1183640"/>
                    <a:gd name="connsiteX8" fmla="*/ 1325880 w 1407303"/>
                    <a:gd name="connsiteY8" fmla="*/ 772160 h 1183640"/>
                    <a:gd name="connsiteX9" fmla="*/ 1407160 w 1407303"/>
                    <a:gd name="connsiteY9" fmla="*/ 863600 h 1183640"/>
                    <a:gd name="connsiteX10" fmla="*/ 1366520 w 1407303"/>
                    <a:gd name="connsiteY10" fmla="*/ 980440 h 1183640"/>
                    <a:gd name="connsiteX11" fmla="*/ 1036320 w 1407303"/>
                    <a:gd name="connsiteY11" fmla="*/ 1178560 h 1183640"/>
                    <a:gd name="connsiteX12" fmla="*/ 381000 w 1407303"/>
                    <a:gd name="connsiteY12" fmla="*/ 1183640 h 1183640"/>
                    <a:gd name="connsiteX13" fmla="*/ 15240 w 1407303"/>
                    <a:gd name="connsiteY13" fmla="*/ 899160 h 1183640"/>
                    <a:gd name="connsiteX14" fmla="*/ 71120 w 1407303"/>
                    <a:gd name="connsiteY14" fmla="*/ 812800 h 1183640"/>
                    <a:gd name="connsiteX15" fmla="*/ 0 w 1407303"/>
                    <a:gd name="connsiteY15" fmla="*/ 736600 h 1183640"/>
                    <a:gd name="connsiteX16" fmla="*/ 81280 w 1407303"/>
                    <a:gd name="connsiteY16" fmla="*/ 624840 h 1183640"/>
                    <a:gd name="connsiteX17" fmla="*/ 10160 w 1407303"/>
                    <a:gd name="connsiteY17" fmla="*/ 548640 h 1183640"/>
                    <a:gd name="connsiteX18" fmla="*/ 76200 w 1407303"/>
                    <a:gd name="connsiteY18" fmla="*/ 462280 h 1183640"/>
                    <a:gd name="connsiteX19" fmla="*/ 5080 w 1407303"/>
                    <a:gd name="connsiteY19" fmla="*/ 370840 h 1183640"/>
                    <a:gd name="connsiteX20" fmla="*/ 81280 w 1407303"/>
                    <a:gd name="connsiteY20" fmla="*/ 274320 h 1183640"/>
                    <a:gd name="connsiteX21" fmla="*/ 15240 w 1407303"/>
                    <a:gd name="connsiteY21" fmla="*/ 218440 h 1183640"/>
                    <a:gd name="connsiteX22" fmla="*/ 5080 w 1407303"/>
                    <a:gd name="connsiteY22" fmla="*/ 5080 h 1183640"/>
                    <a:gd name="connsiteX23" fmla="*/ 1402080 w 1407303"/>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9 w 1407263"/>
                    <a:gd name="connsiteY0" fmla="*/ 0 h 1183640"/>
                    <a:gd name="connsiteX1" fmla="*/ 1402089 w 1407263"/>
                    <a:gd name="connsiteY1" fmla="*/ 177800 h 1183640"/>
                    <a:gd name="connsiteX2" fmla="*/ 1325889 w 1407263"/>
                    <a:gd name="connsiteY2" fmla="*/ 238760 h 1183640"/>
                    <a:gd name="connsiteX3" fmla="*/ 1407169 w 1407263"/>
                    <a:gd name="connsiteY3" fmla="*/ 340360 h 1183640"/>
                    <a:gd name="connsiteX4" fmla="*/ 1330969 w 1407263"/>
                    <a:gd name="connsiteY4" fmla="*/ 421640 h 1183640"/>
                    <a:gd name="connsiteX5" fmla="*/ 1402089 w 1407263"/>
                    <a:gd name="connsiteY5" fmla="*/ 518160 h 1183640"/>
                    <a:gd name="connsiteX6" fmla="*/ 1325889 w 1407263"/>
                    <a:gd name="connsiteY6" fmla="*/ 589280 h 1183640"/>
                    <a:gd name="connsiteX7" fmla="*/ 1407169 w 1407263"/>
                    <a:gd name="connsiteY7" fmla="*/ 690880 h 1183640"/>
                    <a:gd name="connsiteX8" fmla="*/ 1325889 w 1407263"/>
                    <a:gd name="connsiteY8" fmla="*/ 772160 h 1183640"/>
                    <a:gd name="connsiteX9" fmla="*/ 1407169 w 1407263"/>
                    <a:gd name="connsiteY9" fmla="*/ 863600 h 1183640"/>
                    <a:gd name="connsiteX10" fmla="*/ 1366529 w 1407263"/>
                    <a:gd name="connsiteY10" fmla="*/ 980440 h 1183640"/>
                    <a:gd name="connsiteX11" fmla="*/ 1036329 w 1407263"/>
                    <a:gd name="connsiteY11" fmla="*/ 1178560 h 1183640"/>
                    <a:gd name="connsiteX12" fmla="*/ 381009 w 1407263"/>
                    <a:gd name="connsiteY12" fmla="*/ 1183640 h 1183640"/>
                    <a:gd name="connsiteX13" fmla="*/ 15249 w 1407263"/>
                    <a:gd name="connsiteY13" fmla="*/ 899160 h 1183640"/>
                    <a:gd name="connsiteX14" fmla="*/ 71129 w 1407263"/>
                    <a:gd name="connsiteY14" fmla="*/ 812800 h 1183640"/>
                    <a:gd name="connsiteX15" fmla="*/ 9 w 1407263"/>
                    <a:gd name="connsiteY15" fmla="*/ 736600 h 1183640"/>
                    <a:gd name="connsiteX16" fmla="*/ 81289 w 1407263"/>
                    <a:gd name="connsiteY16" fmla="*/ 624840 h 1183640"/>
                    <a:gd name="connsiteX17" fmla="*/ 10169 w 1407263"/>
                    <a:gd name="connsiteY17" fmla="*/ 548640 h 1183640"/>
                    <a:gd name="connsiteX18" fmla="*/ 76209 w 1407263"/>
                    <a:gd name="connsiteY18" fmla="*/ 462280 h 1183640"/>
                    <a:gd name="connsiteX19" fmla="*/ 5089 w 1407263"/>
                    <a:gd name="connsiteY19" fmla="*/ 370840 h 1183640"/>
                    <a:gd name="connsiteX20" fmla="*/ 81289 w 1407263"/>
                    <a:gd name="connsiteY20" fmla="*/ 274320 h 1183640"/>
                    <a:gd name="connsiteX21" fmla="*/ 15249 w 1407263"/>
                    <a:gd name="connsiteY21" fmla="*/ 218440 h 1183640"/>
                    <a:gd name="connsiteX22" fmla="*/ 5089 w 1407263"/>
                    <a:gd name="connsiteY22" fmla="*/ 5080 h 1183640"/>
                    <a:gd name="connsiteX23" fmla="*/ 1402089 w 1407263"/>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7627 w 1407261"/>
                    <a:gd name="connsiteY21" fmla="*/ 215900 h 1183640"/>
                    <a:gd name="connsiteX22" fmla="*/ 5087 w 1407261"/>
                    <a:gd name="connsiteY22" fmla="*/ 5080 h 1183640"/>
                    <a:gd name="connsiteX23" fmla="*/ 1402087 w 1407261"/>
                    <a:gd name="connsiteY23" fmla="*/ 0 h 118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07261" h="1183640">
                      <a:moveTo>
                        <a:pt x="1402087" y="0"/>
                      </a:moveTo>
                      <a:lnTo>
                        <a:pt x="1402087" y="177800"/>
                      </a:lnTo>
                      <a:cubicBezTo>
                        <a:pt x="1376687" y="198120"/>
                        <a:pt x="1326734" y="209973"/>
                        <a:pt x="1325887" y="238760"/>
                      </a:cubicBezTo>
                      <a:cubicBezTo>
                        <a:pt x="1325040" y="267547"/>
                        <a:pt x="1407167" y="318347"/>
                        <a:pt x="1407167" y="340360"/>
                      </a:cubicBezTo>
                      <a:cubicBezTo>
                        <a:pt x="1407167" y="362373"/>
                        <a:pt x="1319960" y="381847"/>
                        <a:pt x="1330967" y="421640"/>
                      </a:cubicBezTo>
                      <a:cubicBezTo>
                        <a:pt x="1341974" y="461433"/>
                        <a:pt x="1407167" y="494453"/>
                        <a:pt x="1402087" y="518160"/>
                      </a:cubicBezTo>
                      <a:cubicBezTo>
                        <a:pt x="1397007" y="541867"/>
                        <a:pt x="1326734" y="552873"/>
                        <a:pt x="1325887" y="589280"/>
                      </a:cubicBezTo>
                      <a:cubicBezTo>
                        <a:pt x="1325040" y="625687"/>
                        <a:pt x="1403780" y="658707"/>
                        <a:pt x="1407167" y="690880"/>
                      </a:cubicBezTo>
                      <a:cubicBezTo>
                        <a:pt x="1410554" y="723053"/>
                        <a:pt x="1321654" y="736600"/>
                        <a:pt x="1325887" y="772160"/>
                      </a:cubicBezTo>
                      <a:cubicBezTo>
                        <a:pt x="1330120" y="807720"/>
                        <a:pt x="1380074" y="833120"/>
                        <a:pt x="1407167" y="863600"/>
                      </a:cubicBezTo>
                      <a:cubicBezTo>
                        <a:pt x="1393620" y="902547"/>
                        <a:pt x="1390234" y="944880"/>
                        <a:pt x="1366527" y="980440"/>
                      </a:cubicBezTo>
                      <a:cubicBezTo>
                        <a:pt x="1342820" y="1016000"/>
                        <a:pt x="1100674" y="1145540"/>
                        <a:pt x="1036327" y="1178560"/>
                      </a:cubicBezTo>
                      <a:lnTo>
                        <a:pt x="381007" y="1183640"/>
                      </a:lnTo>
                      <a:cubicBezTo>
                        <a:pt x="200667" y="1098973"/>
                        <a:pt x="25407" y="996527"/>
                        <a:pt x="15247" y="899160"/>
                      </a:cubicBezTo>
                      <a:cubicBezTo>
                        <a:pt x="33874" y="870373"/>
                        <a:pt x="75360" y="836507"/>
                        <a:pt x="71127" y="812800"/>
                      </a:cubicBezTo>
                      <a:cubicBezTo>
                        <a:pt x="66894" y="789093"/>
                        <a:pt x="854" y="764540"/>
                        <a:pt x="7" y="736600"/>
                      </a:cubicBezTo>
                      <a:cubicBezTo>
                        <a:pt x="-840" y="708660"/>
                        <a:pt x="79594" y="654473"/>
                        <a:pt x="81287" y="624840"/>
                      </a:cubicBezTo>
                      <a:cubicBezTo>
                        <a:pt x="82980" y="595207"/>
                        <a:pt x="5934" y="581660"/>
                        <a:pt x="10167" y="548640"/>
                      </a:cubicBezTo>
                      <a:cubicBezTo>
                        <a:pt x="14400" y="515620"/>
                        <a:pt x="77054" y="488527"/>
                        <a:pt x="76207" y="462280"/>
                      </a:cubicBezTo>
                      <a:cubicBezTo>
                        <a:pt x="75360" y="436033"/>
                        <a:pt x="854" y="396240"/>
                        <a:pt x="5087" y="370840"/>
                      </a:cubicBezTo>
                      <a:cubicBezTo>
                        <a:pt x="9320" y="345440"/>
                        <a:pt x="80864" y="300143"/>
                        <a:pt x="81287" y="274320"/>
                      </a:cubicBezTo>
                      <a:cubicBezTo>
                        <a:pt x="81710" y="248497"/>
                        <a:pt x="29640" y="234527"/>
                        <a:pt x="7627" y="215900"/>
                      </a:cubicBezTo>
                      <a:cubicBezTo>
                        <a:pt x="6780" y="145627"/>
                        <a:pt x="5934" y="75353"/>
                        <a:pt x="5087" y="5080"/>
                      </a:cubicBezTo>
                      <a:lnTo>
                        <a:pt x="1402087" y="0"/>
                      </a:lnTo>
                      <a:close/>
                    </a:path>
                  </a:pathLst>
                </a:custGeom>
                <a:gradFill flip="none" rotWithShape="1">
                  <a:gsLst>
                    <a:gs pos="0">
                      <a:schemeClr val="bg1">
                        <a:lumMod val="30000"/>
                      </a:schemeClr>
                    </a:gs>
                    <a:gs pos="85000">
                      <a:schemeClr val="bg1">
                        <a:lumMod val="95000"/>
                      </a:schemeClr>
                    </a:gs>
                    <a:gs pos="42000">
                      <a:srgbClr val="B6B6B6">
                        <a:lumMod val="95000"/>
                      </a:srgbClr>
                    </a:gs>
                    <a:gs pos="70000">
                      <a:schemeClr val="bg1">
                        <a:lumMod val="66000"/>
                      </a:schemeClr>
                    </a:gs>
                    <a:gs pos="100000">
                      <a:schemeClr val="bg1">
                        <a:lumMod val="3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6" name="Freeform 15"/>
                <p:cNvSpPr/>
                <p:nvPr/>
              </p:nvSpPr>
              <p:spPr>
                <a:xfrm>
                  <a:off x="4088110" y="5582219"/>
                  <a:ext cx="972621" cy="141683"/>
                </a:xfrm>
                <a:custGeom>
                  <a:avLst/>
                  <a:gdLst/>
                  <a:ahLst/>
                  <a:cxnLst/>
                  <a:rect l="l" t="t" r="r" b="b"/>
                  <a:pathLst>
                    <a:path w="1391920" h="202763">
                      <a:moveTo>
                        <a:pt x="1319213" y="0"/>
                      </a:moveTo>
                      <a:cubicBezTo>
                        <a:pt x="1334296" y="26053"/>
                        <a:pt x="1370352" y="47098"/>
                        <a:pt x="1391920" y="71362"/>
                      </a:cubicBezTo>
                      <a:lnTo>
                        <a:pt x="1381165" y="110247"/>
                      </a:lnTo>
                      <a:lnTo>
                        <a:pt x="58123" y="202763"/>
                      </a:lnTo>
                      <a:cubicBezTo>
                        <a:pt x="24364" y="171244"/>
                        <a:pt x="3328" y="138811"/>
                        <a:pt x="0" y="106922"/>
                      </a:cubicBezTo>
                      <a:lnTo>
                        <a:pt x="11949" y="9141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7" name="Freeform 16"/>
                <p:cNvSpPr/>
                <p:nvPr/>
              </p:nvSpPr>
              <p:spPr>
                <a:xfrm>
                  <a:off x="4077456" y="5459198"/>
                  <a:ext cx="983340" cy="141952"/>
                </a:xfrm>
                <a:custGeom>
                  <a:avLst/>
                  <a:gdLst/>
                  <a:ahLst/>
                  <a:cxnLst/>
                  <a:rect l="l" t="t" r="r" b="b"/>
                  <a:pathLst>
                    <a:path w="1407261" h="203148">
                      <a:moveTo>
                        <a:pt x="1336797" y="0"/>
                      </a:moveTo>
                      <a:cubicBezTo>
                        <a:pt x="1357661" y="27201"/>
                        <a:pt x="1404570" y="52371"/>
                        <a:pt x="1407167" y="77042"/>
                      </a:cubicBezTo>
                      <a:cubicBezTo>
                        <a:pt x="1408668" y="91297"/>
                        <a:pt x="1392052" y="101895"/>
                        <a:pt x="1373255" y="112030"/>
                      </a:cubicBezTo>
                      <a:lnTo>
                        <a:pt x="70196" y="203148"/>
                      </a:lnTo>
                      <a:cubicBezTo>
                        <a:pt x="71464" y="201748"/>
                        <a:pt x="71373" y="200338"/>
                        <a:pt x="71127" y="198962"/>
                      </a:cubicBezTo>
                      <a:cubicBezTo>
                        <a:pt x="66894" y="175255"/>
                        <a:pt x="854" y="150702"/>
                        <a:pt x="7" y="122762"/>
                      </a:cubicBezTo>
                      <a:cubicBezTo>
                        <a:pt x="-246" y="114413"/>
                        <a:pt x="6760" y="103719"/>
                        <a:pt x="17044" y="92286"/>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8" name="Freeform 17"/>
                <p:cNvSpPr/>
                <p:nvPr/>
              </p:nvSpPr>
              <p:spPr>
                <a:xfrm>
                  <a:off x="4084442" y="5334842"/>
                  <a:ext cx="972935" cy="141885"/>
                </a:xfrm>
                <a:custGeom>
                  <a:avLst/>
                  <a:gdLst/>
                  <a:ahLst/>
                  <a:cxnLst/>
                  <a:rect l="l" t="t" r="r" b="b"/>
                  <a:pathLst>
                    <a:path w="1392370" h="203052">
                      <a:moveTo>
                        <a:pt x="1329184" y="0"/>
                      </a:moveTo>
                      <a:cubicBezTo>
                        <a:pt x="1347693" y="33963"/>
                        <a:pt x="1396511" y="61654"/>
                        <a:pt x="1392089" y="82288"/>
                      </a:cubicBezTo>
                      <a:cubicBezTo>
                        <a:pt x="1389561" y="94086"/>
                        <a:pt x="1370889" y="102738"/>
                        <a:pt x="1352660" y="112938"/>
                      </a:cubicBezTo>
                      <a:lnTo>
                        <a:pt x="63968" y="203052"/>
                      </a:lnTo>
                      <a:cubicBezTo>
                        <a:pt x="68944" y="198570"/>
                        <a:pt x="71031" y="193484"/>
                        <a:pt x="71289" y="188968"/>
                      </a:cubicBezTo>
                      <a:cubicBezTo>
                        <a:pt x="72982" y="159335"/>
                        <a:pt x="-4064" y="145788"/>
                        <a:pt x="169" y="112768"/>
                      </a:cubicBezTo>
                      <a:lnTo>
                        <a:pt x="10766" y="9219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9" name="Freeform 18"/>
                <p:cNvSpPr/>
                <p:nvPr/>
              </p:nvSpPr>
              <p:spPr>
                <a:xfrm>
                  <a:off x="4080889" y="5208287"/>
                  <a:ext cx="979841" cy="141561"/>
                </a:xfrm>
                <a:custGeom>
                  <a:avLst/>
                  <a:gdLst/>
                  <a:ahLst/>
                  <a:cxnLst/>
                  <a:rect l="l" t="t" r="r" b="b"/>
                  <a:pathLst>
                    <a:path w="1402254" h="202589">
                      <a:moveTo>
                        <a:pt x="1327165" y="0"/>
                      </a:moveTo>
                      <a:cubicBezTo>
                        <a:pt x="1345502" y="29113"/>
                        <a:pt x="1402254" y="67305"/>
                        <a:pt x="1402254" y="85604"/>
                      </a:cubicBezTo>
                      <a:cubicBezTo>
                        <a:pt x="1402254" y="94165"/>
                        <a:pt x="1389065" y="102342"/>
                        <a:pt x="1373510" y="111338"/>
                      </a:cubicBezTo>
                      <a:lnTo>
                        <a:pt x="68561" y="202589"/>
                      </a:lnTo>
                      <a:cubicBezTo>
                        <a:pt x="60713" y="175951"/>
                        <a:pt x="-3772" y="139763"/>
                        <a:pt x="174" y="116084"/>
                      </a:cubicBezTo>
                      <a:cubicBezTo>
                        <a:pt x="1332" y="109136"/>
                        <a:pt x="7527" y="100699"/>
                        <a:pt x="16039" y="91683"/>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0" name="Freeform 19"/>
                <p:cNvSpPr/>
                <p:nvPr/>
              </p:nvSpPr>
              <p:spPr>
                <a:xfrm>
                  <a:off x="4336590" y="5852030"/>
                  <a:ext cx="470337" cy="95190"/>
                </a:xfrm>
                <a:custGeom>
                  <a:avLst/>
                  <a:gdLst>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325"/>
                    <a:gd name="connsiteX1" fmla="*/ 241300 w 673100"/>
                    <a:gd name="connsiteY1" fmla="*/ 121920 h 127325"/>
                    <a:gd name="connsiteX2" fmla="*/ 434340 w 673100"/>
                    <a:gd name="connsiteY2" fmla="*/ 127000 h 127325"/>
                    <a:gd name="connsiteX3" fmla="*/ 673100 w 673100"/>
                    <a:gd name="connsiteY3" fmla="*/ 0 h 127325"/>
                    <a:gd name="connsiteX4" fmla="*/ 0 w 673100"/>
                    <a:gd name="connsiteY4" fmla="*/ 5080 h 127325"/>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4622"/>
                    <a:gd name="connsiteX1" fmla="*/ 241300 w 673100"/>
                    <a:gd name="connsiteY1" fmla="*/ 121920 h 134622"/>
                    <a:gd name="connsiteX2" fmla="*/ 434340 w 673100"/>
                    <a:gd name="connsiteY2" fmla="*/ 127000 h 134622"/>
                    <a:gd name="connsiteX3" fmla="*/ 673100 w 673100"/>
                    <a:gd name="connsiteY3" fmla="*/ 0 h 134622"/>
                    <a:gd name="connsiteX4" fmla="*/ 0 w 673100"/>
                    <a:gd name="connsiteY4" fmla="*/ 5080 h 134622"/>
                    <a:gd name="connsiteX0" fmla="*/ 0 w 673100"/>
                    <a:gd name="connsiteY0" fmla="*/ 5080 h 136227"/>
                    <a:gd name="connsiteX1" fmla="*/ 241300 w 673100"/>
                    <a:gd name="connsiteY1" fmla="*/ 121920 h 136227"/>
                    <a:gd name="connsiteX2" fmla="*/ 434340 w 673100"/>
                    <a:gd name="connsiteY2" fmla="*/ 127000 h 136227"/>
                    <a:gd name="connsiteX3" fmla="*/ 673100 w 673100"/>
                    <a:gd name="connsiteY3" fmla="*/ 0 h 136227"/>
                    <a:gd name="connsiteX4" fmla="*/ 0 w 673100"/>
                    <a:gd name="connsiteY4" fmla="*/ 5080 h 136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00" h="136227">
                      <a:moveTo>
                        <a:pt x="0" y="5080"/>
                      </a:moveTo>
                      <a:cubicBezTo>
                        <a:pt x="423" y="32597"/>
                        <a:pt x="226483" y="106892"/>
                        <a:pt x="241300" y="121920"/>
                      </a:cubicBezTo>
                      <a:cubicBezTo>
                        <a:pt x="256117" y="136948"/>
                        <a:pt x="421428" y="142452"/>
                        <a:pt x="434340" y="127000"/>
                      </a:cubicBezTo>
                      <a:cubicBezTo>
                        <a:pt x="447252" y="111548"/>
                        <a:pt x="671618" y="23283"/>
                        <a:pt x="673100" y="0"/>
                      </a:cubicBezTo>
                      <a:lnTo>
                        <a:pt x="0" y="508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14" name="Oval 13"/>
              <p:cNvSpPr/>
              <p:nvPr/>
            </p:nvSpPr>
            <p:spPr>
              <a:xfrm rot="19080000" flipH="1">
                <a:off x="3521505" y="2435407"/>
                <a:ext cx="890063" cy="265634"/>
              </a:xfrm>
              <a:prstGeom prst="ellipse">
                <a:avLst/>
              </a:prstGeom>
              <a:gradFill flip="none" rotWithShape="1">
                <a:gsLst>
                  <a:gs pos="28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10" name="Oval 9"/>
            <p:cNvSpPr/>
            <p:nvPr/>
          </p:nvSpPr>
          <p:spPr>
            <a:xfrm>
              <a:off x="6247117" y="2512770"/>
              <a:ext cx="1162056" cy="1079812"/>
            </a:xfrm>
            <a:prstGeom prst="ellipse">
              <a:avLst/>
            </a:prstGeom>
            <a:gradFill flip="none" rotWithShape="1">
              <a:gsLst>
                <a:gs pos="32000">
                  <a:srgbClr val="00B0F0"/>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ysClr val="window" lastClr="FFFFFF"/>
                </a:solidFill>
                <a:latin typeface="Arial" panose="020B0604020202020204" pitchFamily="34" charset="0"/>
                <a:cs typeface="Arial" panose="020B0604020202020204" pitchFamily="34" charset="0"/>
              </a:endParaRPr>
            </a:p>
          </p:txBody>
        </p:sp>
      </p:grpSp>
      <p:grpSp>
        <p:nvGrpSpPr>
          <p:cNvPr id="30" name="Group 29"/>
          <p:cNvGrpSpPr/>
          <p:nvPr userDrawn="1"/>
        </p:nvGrpSpPr>
        <p:grpSpPr>
          <a:xfrm rot="3986291">
            <a:off x="6040610" y="2613193"/>
            <a:ext cx="588708" cy="1040024"/>
            <a:chOff x="5869118" y="1864852"/>
            <a:chExt cx="1875650" cy="3313563"/>
          </a:xfrm>
        </p:grpSpPr>
        <p:grpSp>
          <p:nvGrpSpPr>
            <p:cNvPr id="31" name="Group 30"/>
            <p:cNvGrpSpPr/>
            <p:nvPr/>
          </p:nvGrpSpPr>
          <p:grpSpPr>
            <a:xfrm>
              <a:off x="5869118" y="1864852"/>
              <a:ext cx="1875650" cy="3313563"/>
              <a:chOff x="3509193" y="2208611"/>
              <a:chExt cx="2116248" cy="3738609"/>
            </a:xfrm>
          </p:grpSpPr>
          <p:sp>
            <p:nvSpPr>
              <p:cNvPr id="33" name="Freeform 32"/>
              <p:cNvSpPr/>
              <p:nvPr/>
            </p:nvSpPr>
            <p:spPr>
              <a:xfrm>
                <a:off x="3509193" y="2208611"/>
                <a:ext cx="2116248" cy="2832368"/>
              </a:xfrm>
              <a:custGeom>
                <a:avLst/>
                <a:gdLst>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88" h="1692915">
                    <a:moveTo>
                      <a:pt x="632444" y="0"/>
                    </a:moveTo>
                    <a:cubicBezTo>
                      <a:pt x="981735" y="7"/>
                      <a:pt x="1264888" y="283165"/>
                      <a:pt x="1264888" y="632458"/>
                    </a:cubicBezTo>
                    <a:cubicBezTo>
                      <a:pt x="1264888" y="722053"/>
                      <a:pt x="1243620" y="800469"/>
                      <a:pt x="1212119" y="884292"/>
                    </a:cubicBezTo>
                    <a:cubicBezTo>
                      <a:pt x="1180618" y="968115"/>
                      <a:pt x="1050676" y="1160843"/>
                      <a:pt x="1026175" y="1272920"/>
                    </a:cubicBezTo>
                    <a:cubicBezTo>
                      <a:pt x="1001674" y="1384997"/>
                      <a:pt x="991603" y="1515490"/>
                      <a:pt x="972341" y="1634870"/>
                    </a:cubicBezTo>
                    <a:cubicBezTo>
                      <a:pt x="968177" y="1660679"/>
                      <a:pt x="924730" y="1693412"/>
                      <a:pt x="888132" y="1692910"/>
                    </a:cubicBezTo>
                    <a:cubicBezTo>
                      <a:pt x="851534" y="1692408"/>
                      <a:pt x="429358" y="1692412"/>
                      <a:pt x="376023" y="1692910"/>
                    </a:cubicBezTo>
                    <a:cubicBezTo>
                      <a:pt x="322688" y="1693408"/>
                      <a:pt x="296690" y="1660741"/>
                      <a:pt x="292547" y="1635064"/>
                    </a:cubicBezTo>
                    <a:cubicBezTo>
                      <a:pt x="273285" y="1515684"/>
                      <a:pt x="263214" y="1385191"/>
                      <a:pt x="238713" y="1273114"/>
                    </a:cubicBezTo>
                    <a:cubicBezTo>
                      <a:pt x="214212" y="1161037"/>
                      <a:pt x="84270" y="968309"/>
                      <a:pt x="52769" y="884486"/>
                    </a:cubicBezTo>
                    <a:cubicBezTo>
                      <a:pt x="21268" y="800663"/>
                      <a:pt x="0" y="722247"/>
                      <a:pt x="0" y="632652"/>
                    </a:cubicBezTo>
                    <a:cubicBezTo>
                      <a:pt x="0" y="283359"/>
                      <a:pt x="283153" y="201"/>
                      <a:pt x="632444" y="194"/>
                    </a:cubicBezTo>
                    <a:lnTo>
                      <a:pt x="632444" y="0"/>
                    </a:lnTo>
                    <a:close/>
                  </a:path>
                </a:pathLst>
              </a:custGeom>
              <a:solidFill>
                <a:srgbClr val="00B0F0">
                  <a:alpha val="20000"/>
                </a:srgbClr>
              </a:solidFill>
              <a:ln>
                <a:noFill/>
              </a:ln>
              <a:effectLst/>
              <a:scene3d>
                <a:camera prst="orthographicFront">
                  <a:rot lat="0" lon="0" rev="0"/>
                </a:camera>
                <a:lightRig rig="twoPt" dir="t">
                  <a:rot lat="0" lon="0" rev="0"/>
                </a:lightRig>
              </a:scene3d>
              <a:sp3d prstMaterial="clear">
                <a:bevelT w="317500" h="1905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nvGrpSpPr>
              <p:cNvPr id="34" name="Group 33"/>
              <p:cNvGrpSpPr/>
              <p:nvPr/>
            </p:nvGrpSpPr>
            <p:grpSpPr>
              <a:xfrm>
                <a:off x="4221220" y="3554960"/>
                <a:ext cx="700181" cy="1502973"/>
                <a:chOff x="6480420" y="3161623"/>
                <a:chExt cx="813818" cy="1746901"/>
              </a:xfrm>
            </p:grpSpPr>
            <p:sp>
              <p:nvSpPr>
                <p:cNvPr id="43" name="Freeform 42"/>
                <p:cNvSpPr/>
                <p:nvPr/>
              </p:nvSpPr>
              <p:spPr>
                <a:xfrm>
                  <a:off x="6747926" y="4123689"/>
                  <a:ext cx="27850" cy="772043"/>
                </a:xfrm>
                <a:custGeom>
                  <a:avLst/>
                  <a:gdLst>
                    <a:gd name="connsiteX0" fmla="*/ 0 w 34290"/>
                    <a:gd name="connsiteY0" fmla="*/ 0 h 950595"/>
                    <a:gd name="connsiteX1" fmla="*/ 34290 w 34290"/>
                    <a:gd name="connsiteY1" fmla="*/ 950595 h 950595"/>
                  </a:gdLst>
                  <a:ahLst/>
                  <a:cxnLst>
                    <a:cxn ang="0">
                      <a:pos x="connsiteX0" y="connsiteY0"/>
                    </a:cxn>
                    <a:cxn ang="0">
                      <a:pos x="connsiteX1" y="connsiteY1"/>
                    </a:cxn>
                  </a:cxnLst>
                  <a:rect l="l" t="t" r="r" b="b"/>
                  <a:pathLst>
                    <a:path w="34290" h="950595">
                      <a:moveTo>
                        <a:pt x="0" y="0"/>
                      </a:moveTo>
                      <a:lnTo>
                        <a:pt x="34290" y="950595"/>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44" name="Freeform 43"/>
                <p:cNvSpPr/>
                <p:nvPr/>
              </p:nvSpPr>
              <p:spPr>
                <a:xfrm>
                  <a:off x="7003162" y="4123690"/>
                  <a:ext cx="21660" cy="770496"/>
                </a:xfrm>
                <a:custGeom>
                  <a:avLst/>
                  <a:gdLst>
                    <a:gd name="connsiteX0" fmla="*/ 26670 w 26670"/>
                    <a:gd name="connsiteY0" fmla="*/ 0 h 948690"/>
                    <a:gd name="connsiteX1" fmla="*/ 0 w 26670"/>
                    <a:gd name="connsiteY1" fmla="*/ 948690 h 948690"/>
                  </a:gdLst>
                  <a:ahLst/>
                  <a:cxnLst>
                    <a:cxn ang="0">
                      <a:pos x="connsiteX0" y="connsiteY0"/>
                    </a:cxn>
                    <a:cxn ang="0">
                      <a:pos x="connsiteX1" y="connsiteY1"/>
                    </a:cxn>
                  </a:cxnLst>
                  <a:rect l="l" t="t" r="r" b="b"/>
                  <a:pathLst>
                    <a:path w="26670" h="948690">
                      <a:moveTo>
                        <a:pt x="26670" y="0"/>
                      </a:moveTo>
                      <a:lnTo>
                        <a:pt x="0" y="948690"/>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45" name="Freeform 44"/>
                <p:cNvSpPr/>
                <p:nvPr/>
              </p:nvSpPr>
              <p:spPr>
                <a:xfrm>
                  <a:off x="6672271" y="3166397"/>
                  <a:ext cx="120681" cy="521400"/>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123 w 148713"/>
                    <a:gd name="connsiteY0" fmla="*/ 0 h 641985"/>
                    <a:gd name="connsiteX1" fmla="*/ 3933 w 148713"/>
                    <a:gd name="connsiteY1" fmla="*/ 110490 h 641985"/>
                    <a:gd name="connsiteX2" fmla="*/ 34413 w 148713"/>
                    <a:gd name="connsiteY2" fmla="*/ 129540 h 641985"/>
                    <a:gd name="connsiteX3" fmla="*/ 57273 w 148713"/>
                    <a:gd name="connsiteY3" fmla="*/ 87630 h 641985"/>
                    <a:gd name="connsiteX4" fmla="*/ 30603 w 148713"/>
                    <a:gd name="connsiteY4" fmla="*/ 57150 h 641985"/>
                    <a:gd name="connsiteX5" fmla="*/ 15363 w 148713"/>
                    <a:gd name="connsiteY5" fmla="*/ 144780 h 641985"/>
                    <a:gd name="connsiteX6" fmla="*/ 148713 w 148713"/>
                    <a:gd name="connsiteY6" fmla="*/ 641985 h 641985"/>
                    <a:gd name="connsiteX0" fmla="*/ 0 w 148590"/>
                    <a:gd name="connsiteY0" fmla="*/ 0 h 641985"/>
                    <a:gd name="connsiteX1" fmla="*/ 3810 w 148590"/>
                    <a:gd name="connsiteY1" fmla="*/ 110490 h 641985"/>
                    <a:gd name="connsiteX2" fmla="*/ 34290 w 148590"/>
                    <a:gd name="connsiteY2" fmla="*/ 129540 h 641985"/>
                    <a:gd name="connsiteX3" fmla="*/ 57150 w 148590"/>
                    <a:gd name="connsiteY3" fmla="*/ 87630 h 641985"/>
                    <a:gd name="connsiteX4" fmla="*/ 30480 w 148590"/>
                    <a:gd name="connsiteY4" fmla="*/ 57150 h 641985"/>
                    <a:gd name="connsiteX5" fmla="*/ 15240 w 148590"/>
                    <a:gd name="connsiteY5" fmla="*/ 144780 h 641985"/>
                    <a:gd name="connsiteX6" fmla="*/ 148590 w 148590"/>
                    <a:gd name="connsiteY6" fmla="*/ 641985 h 64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 h="641985">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931" y="57677"/>
                        <a:pt x="30480" y="57150"/>
                      </a:cubicBezTo>
                      <a:cubicBezTo>
                        <a:pt x="8255" y="56515"/>
                        <a:pt x="-4445" y="47308"/>
                        <a:pt x="15240" y="144780"/>
                      </a:cubicBezTo>
                      <a:cubicBezTo>
                        <a:pt x="34925" y="242253"/>
                        <a:pt x="104140" y="467995"/>
                        <a:pt x="148590" y="641985"/>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46" name="Freeform 45"/>
                <p:cNvSpPr/>
                <p:nvPr/>
              </p:nvSpPr>
              <p:spPr>
                <a:xfrm rot="21360000" flipH="1">
                  <a:off x="6946994" y="3161623"/>
                  <a:ext cx="116190" cy="521665"/>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061" h="642311">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877" y="55639"/>
                        <a:pt x="30480" y="57150"/>
                      </a:cubicBezTo>
                      <a:cubicBezTo>
                        <a:pt x="6441" y="59125"/>
                        <a:pt x="-3523" y="47253"/>
                        <a:pt x="15240" y="144780"/>
                      </a:cubicBezTo>
                      <a:cubicBezTo>
                        <a:pt x="34003" y="242307"/>
                        <a:pt x="98611" y="468321"/>
                        <a:pt x="143061" y="642311"/>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47" name="Freeform 46"/>
                <p:cNvSpPr/>
                <p:nvPr/>
              </p:nvSpPr>
              <p:spPr>
                <a:xfrm>
                  <a:off x="6480420" y="3237725"/>
                  <a:ext cx="812786" cy="82516"/>
                </a:xfrm>
                <a:custGeom>
                  <a:avLst/>
                  <a:gdLst>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1000760" h="101600">
                      <a:moveTo>
                        <a:pt x="0" y="86360"/>
                      </a:moveTo>
                      <a:cubicBezTo>
                        <a:pt x="143087" y="92287"/>
                        <a:pt x="174413" y="55033"/>
                        <a:pt x="261620" y="5080"/>
                      </a:cubicBezTo>
                      <a:cubicBezTo>
                        <a:pt x="395393" y="33867"/>
                        <a:pt x="516467" y="37253"/>
                        <a:pt x="662940" y="0"/>
                      </a:cubicBezTo>
                      <a:cubicBezTo>
                        <a:pt x="813647" y="69427"/>
                        <a:pt x="865293" y="90593"/>
                        <a:pt x="1000760" y="101600"/>
                      </a:cubicBezTo>
                    </a:path>
                  </a:pathLst>
                </a:custGeom>
                <a:noFill/>
                <a:ln w="19050" cap="rnd" cmpd="sng">
                  <a:solidFill>
                    <a:schemeClr val="tx1">
                      <a:lumMod val="50000"/>
                      <a:lumOff val="50000"/>
                    </a:schemeClr>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48" name="Freeform 47"/>
                <p:cNvSpPr/>
                <p:nvPr/>
              </p:nvSpPr>
              <p:spPr>
                <a:xfrm flipH="1">
                  <a:off x="6678460" y="3749170"/>
                  <a:ext cx="412581" cy="1159354"/>
                </a:xfrm>
                <a:custGeom>
                  <a:avLst/>
                  <a:gdLst/>
                  <a:ahLst/>
                  <a:cxnLst/>
                  <a:rect l="l" t="t" r="r" b="b"/>
                  <a:pathLst>
                    <a:path w="508000" h="1427480">
                      <a:moveTo>
                        <a:pt x="254000" y="647700"/>
                      </a:moveTo>
                      <a:cubicBezTo>
                        <a:pt x="294681" y="647700"/>
                        <a:pt x="327660" y="680679"/>
                        <a:pt x="327660" y="721360"/>
                      </a:cubicBezTo>
                      <a:cubicBezTo>
                        <a:pt x="327660" y="762041"/>
                        <a:pt x="294681" y="795020"/>
                        <a:pt x="254000" y="795020"/>
                      </a:cubicBezTo>
                      <a:cubicBezTo>
                        <a:pt x="213319" y="795020"/>
                        <a:pt x="180340" y="762041"/>
                        <a:pt x="180340" y="721360"/>
                      </a:cubicBezTo>
                      <a:cubicBezTo>
                        <a:pt x="180340" y="680679"/>
                        <a:pt x="213319" y="647700"/>
                        <a:pt x="254000" y="647700"/>
                      </a:cubicBezTo>
                      <a:close/>
                      <a:moveTo>
                        <a:pt x="325120" y="0"/>
                      </a:moveTo>
                      <a:lnTo>
                        <a:pt x="254000" y="2453"/>
                      </a:lnTo>
                      <a:lnTo>
                        <a:pt x="182880" y="0"/>
                      </a:lnTo>
                      <a:lnTo>
                        <a:pt x="182880" y="375920"/>
                      </a:lnTo>
                      <a:cubicBezTo>
                        <a:pt x="178647" y="395393"/>
                        <a:pt x="191135" y="416348"/>
                        <a:pt x="170180" y="434340"/>
                      </a:cubicBezTo>
                      <a:cubicBezTo>
                        <a:pt x="149225" y="452332"/>
                        <a:pt x="11007" y="447040"/>
                        <a:pt x="10160" y="551180"/>
                      </a:cubicBezTo>
                      <a:cubicBezTo>
                        <a:pt x="9313" y="655320"/>
                        <a:pt x="53975" y="768138"/>
                        <a:pt x="53340" y="817880"/>
                      </a:cubicBezTo>
                      <a:cubicBezTo>
                        <a:pt x="52705" y="867622"/>
                        <a:pt x="0" y="937472"/>
                        <a:pt x="0" y="995680"/>
                      </a:cubicBezTo>
                      <a:lnTo>
                        <a:pt x="0" y="1427480"/>
                      </a:lnTo>
                      <a:lnTo>
                        <a:pt x="254000" y="1427480"/>
                      </a:lnTo>
                      <a:lnTo>
                        <a:pt x="508000" y="1427480"/>
                      </a:lnTo>
                      <a:lnTo>
                        <a:pt x="508000" y="995680"/>
                      </a:lnTo>
                      <a:cubicBezTo>
                        <a:pt x="508000" y="937472"/>
                        <a:pt x="455295" y="867622"/>
                        <a:pt x="454660" y="817880"/>
                      </a:cubicBezTo>
                      <a:cubicBezTo>
                        <a:pt x="454025" y="768138"/>
                        <a:pt x="498687" y="655320"/>
                        <a:pt x="497840" y="551180"/>
                      </a:cubicBezTo>
                      <a:cubicBezTo>
                        <a:pt x="496993" y="447040"/>
                        <a:pt x="358775" y="452332"/>
                        <a:pt x="337820" y="434340"/>
                      </a:cubicBezTo>
                      <a:cubicBezTo>
                        <a:pt x="316865" y="416348"/>
                        <a:pt x="329353" y="395393"/>
                        <a:pt x="325120" y="375920"/>
                      </a:cubicBezTo>
                      <a:close/>
                    </a:path>
                  </a:pathLst>
                </a:custGeom>
                <a:solidFill>
                  <a:schemeClr val="bg1">
                    <a:alpha val="20000"/>
                  </a:schemeClr>
                </a:solidFill>
                <a:ln>
                  <a:noFill/>
                </a:ln>
                <a:effectLst/>
                <a:scene3d>
                  <a:camera prst="orthographicFront">
                    <a:rot lat="0" lon="0" rev="0"/>
                  </a:camera>
                  <a:lightRig rig="chilly" dir="t"/>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49" name="Freeform 48"/>
                <p:cNvSpPr/>
                <p:nvPr/>
              </p:nvSpPr>
              <p:spPr>
                <a:xfrm>
                  <a:off x="6480420"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50" name="Freeform 49"/>
                <p:cNvSpPr/>
                <p:nvPr/>
              </p:nvSpPr>
              <p:spPr>
                <a:xfrm flipH="1">
                  <a:off x="7028123"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51" name="Rounded Rectangle 50"/>
                <p:cNvSpPr/>
                <p:nvPr/>
              </p:nvSpPr>
              <p:spPr>
                <a:xfrm>
                  <a:off x="6771291" y="3686870"/>
                  <a:ext cx="222795" cy="61888"/>
                </a:xfrm>
                <a:prstGeom prst="roundRect">
                  <a:avLst>
                    <a:gd name="adj" fmla="val 50000"/>
                  </a:avLst>
                </a:prstGeom>
                <a:solidFill>
                  <a:schemeClr val="bg1">
                    <a:alpha val="2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grpSp>
            <p:nvGrpSpPr>
              <p:cNvPr id="35" name="Group 34"/>
              <p:cNvGrpSpPr/>
              <p:nvPr/>
            </p:nvGrpSpPr>
            <p:grpSpPr>
              <a:xfrm>
                <a:off x="4077456" y="5030272"/>
                <a:ext cx="983340" cy="916948"/>
                <a:chOff x="4077456" y="5030272"/>
                <a:chExt cx="983340" cy="916948"/>
              </a:xfrm>
            </p:grpSpPr>
            <p:sp>
              <p:nvSpPr>
                <p:cNvPr id="37" name="Freeform 36"/>
                <p:cNvSpPr/>
                <p:nvPr/>
              </p:nvSpPr>
              <p:spPr>
                <a:xfrm>
                  <a:off x="4077456" y="5030272"/>
                  <a:ext cx="983340" cy="827082"/>
                </a:xfrm>
                <a:custGeom>
                  <a:avLst/>
                  <a:gdLst>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303"/>
                    <a:gd name="connsiteY0" fmla="*/ 0 h 1183640"/>
                    <a:gd name="connsiteX1" fmla="*/ 1402080 w 1407303"/>
                    <a:gd name="connsiteY1" fmla="*/ 177800 h 1183640"/>
                    <a:gd name="connsiteX2" fmla="*/ 1325880 w 1407303"/>
                    <a:gd name="connsiteY2" fmla="*/ 238760 h 1183640"/>
                    <a:gd name="connsiteX3" fmla="*/ 1407160 w 1407303"/>
                    <a:gd name="connsiteY3" fmla="*/ 340360 h 1183640"/>
                    <a:gd name="connsiteX4" fmla="*/ 1330960 w 1407303"/>
                    <a:gd name="connsiteY4" fmla="*/ 421640 h 1183640"/>
                    <a:gd name="connsiteX5" fmla="*/ 1402080 w 1407303"/>
                    <a:gd name="connsiteY5" fmla="*/ 518160 h 1183640"/>
                    <a:gd name="connsiteX6" fmla="*/ 1325880 w 1407303"/>
                    <a:gd name="connsiteY6" fmla="*/ 589280 h 1183640"/>
                    <a:gd name="connsiteX7" fmla="*/ 1407160 w 1407303"/>
                    <a:gd name="connsiteY7" fmla="*/ 690880 h 1183640"/>
                    <a:gd name="connsiteX8" fmla="*/ 1325880 w 1407303"/>
                    <a:gd name="connsiteY8" fmla="*/ 772160 h 1183640"/>
                    <a:gd name="connsiteX9" fmla="*/ 1407160 w 1407303"/>
                    <a:gd name="connsiteY9" fmla="*/ 863600 h 1183640"/>
                    <a:gd name="connsiteX10" fmla="*/ 1366520 w 1407303"/>
                    <a:gd name="connsiteY10" fmla="*/ 980440 h 1183640"/>
                    <a:gd name="connsiteX11" fmla="*/ 1036320 w 1407303"/>
                    <a:gd name="connsiteY11" fmla="*/ 1178560 h 1183640"/>
                    <a:gd name="connsiteX12" fmla="*/ 381000 w 1407303"/>
                    <a:gd name="connsiteY12" fmla="*/ 1183640 h 1183640"/>
                    <a:gd name="connsiteX13" fmla="*/ 15240 w 1407303"/>
                    <a:gd name="connsiteY13" fmla="*/ 899160 h 1183640"/>
                    <a:gd name="connsiteX14" fmla="*/ 71120 w 1407303"/>
                    <a:gd name="connsiteY14" fmla="*/ 812800 h 1183640"/>
                    <a:gd name="connsiteX15" fmla="*/ 0 w 1407303"/>
                    <a:gd name="connsiteY15" fmla="*/ 736600 h 1183640"/>
                    <a:gd name="connsiteX16" fmla="*/ 81280 w 1407303"/>
                    <a:gd name="connsiteY16" fmla="*/ 624840 h 1183640"/>
                    <a:gd name="connsiteX17" fmla="*/ 10160 w 1407303"/>
                    <a:gd name="connsiteY17" fmla="*/ 548640 h 1183640"/>
                    <a:gd name="connsiteX18" fmla="*/ 76200 w 1407303"/>
                    <a:gd name="connsiteY18" fmla="*/ 462280 h 1183640"/>
                    <a:gd name="connsiteX19" fmla="*/ 5080 w 1407303"/>
                    <a:gd name="connsiteY19" fmla="*/ 370840 h 1183640"/>
                    <a:gd name="connsiteX20" fmla="*/ 81280 w 1407303"/>
                    <a:gd name="connsiteY20" fmla="*/ 274320 h 1183640"/>
                    <a:gd name="connsiteX21" fmla="*/ 15240 w 1407303"/>
                    <a:gd name="connsiteY21" fmla="*/ 218440 h 1183640"/>
                    <a:gd name="connsiteX22" fmla="*/ 5080 w 1407303"/>
                    <a:gd name="connsiteY22" fmla="*/ 5080 h 1183640"/>
                    <a:gd name="connsiteX23" fmla="*/ 1402080 w 1407303"/>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9 w 1407263"/>
                    <a:gd name="connsiteY0" fmla="*/ 0 h 1183640"/>
                    <a:gd name="connsiteX1" fmla="*/ 1402089 w 1407263"/>
                    <a:gd name="connsiteY1" fmla="*/ 177800 h 1183640"/>
                    <a:gd name="connsiteX2" fmla="*/ 1325889 w 1407263"/>
                    <a:gd name="connsiteY2" fmla="*/ 238760 h 1183640"/>
                    <a:gd name="connsiteX3" fmla="*/ 1407169 w 1407263"/>
                    <a:gd name="connsiteY3" fmla="*/ 340360 h 1183640"/>
                    <a:gd name="connsiteX4" fmla="*/ 1330969 w 1407263"/>
                    <a:gd name="connsiteY4" fmla="*/ 421640 h 1183640"/>
                    <a:gd name="connsiteX5" fmla="*/ 1402089 w 1407263"/>
                    <a:gd name="connsiteY5" fmla="*/ 518160 h 1183640"/>
                    <a:gd name="connsiteX6" fmla="*/ 1325889 w 1407263"/>
                    <a:gd name="connsiteY6" fmla="*/ 589280 h 1183640"/>
                    <a:gd name="connsiteX7" fmla="*/ 1407169 w 1407263"/>
                    <a:gd name="connsiteY7" fmla="*/ 690880 h 1183640"/>
                    <a:gd name="connsiteX8" fmla="*/ 1325889 w 1407263"/>
                    <a:gd name="connsiteY8" fmla="*/ 772160 h 1183640"/>
                    <a:gd name="connsiteX9" fmla="*/ 1407169 w 1407263"/>
                    <a:gd name="connsiteY9" fmla="*/ 863600 h 1183640"/>
                    <a:gd name="connsiteX10" fmla="*/ 1366529 w 1407263"/>
                    <a:gd name="connsiteY10" fmla="*/ 980440 h 1183640"/>
                    <a:gd name="connsiteX11" fmla="*/ 1036329 w 1407263"/>
                    <a:gd name="connsiteY11" fmla="*/ 1178560 h 1183640"/>
                    <a:gd name="connsiteX12" fmla="*/ 381009 w 1407263"/>
                    <a:gd name="connsiteY12" fmla="*/ 1183640 h 1183640"/>
                    <a:gd name="connsiteX13" fmla="*/ 15249 w 1407263"/>
                    <a:gd name="connsiteY13" fmla="*/ 899160 h 1183640"/>
                    <a:gd name="connsiteX14" fmla="*/ 71129 w 1407263"/>
                    <a:gd name="connsiteY14" fmla="*/ 812800 h 1183640"/>
                    <a:gd name="connsiteX15" fmla="*/ 9 w 1407263"/>
                    <a:gd name="connsiteY15" fmla="*/ 736600 h 1183640"/>
                    <a:gd name="connsiteX16" fmla="*/ 81289 w 1407263"/>
                    <a:gd name="connsiteY16" fmla="*/ 624840 h 1183640"/>
                    <a:gd name="connsiteX17" fmla="*/ 10169 w 1407263"/>
                    <a:gd name="connsiteY17" fmla="*/ 548640 h 1183640"/>
                    <a:gd name="connsiteX18" fmla="*/ 76209 w 1407263"/>
                    <a:gd name="connsiteY18" fmla="*/ 462280 h 1183640"/>
                    <a:gd name="connsiteX19" fmla="*/ 5089 w 1407263"/>
                    <a:gd name="connsiteY19" fmla="*/ 370840 h 1183640"/>
                    <a:gd name="connsiteX20" fmla="*/ 81289 w 1407263"/>
                    <a:gd name="connsiteY20" fmla="*/ 274320 h 1183640"/>
                    <a:gd name="connsiteX21" fmla="*/ 15249 w 1407263"/>
                    <a:gd name="connsiteY21" fmla="*/ 218440 h 1183640"/>
                    <a:gd name="connsiteX22" fmla="*/ 5089 w 1407263"/>
                    <a:gd name="connsiteY22" fmla="*/ 5080 h 1183640"/>
                    <a:gd name="connsiteX23" fmla="*/ 1402089 w 1407263"/>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7627 w 1407261"/>
                    <a:gd name="connsiteY21" fmla="*/ 215900 h 1183640"/>
                    <a:gd name="connsiteX22" fmla="*/ 5087 w 1407261"/>
                    <a:gd name="connsiteY22" fmla="*/ 5080 h 1183640"/>
                    <a:gd name="connsiteX23" fmla="*/ 1402087 w 1407261"/>
                    <a:gd name="connsiteY23" fmla="*/ 0 h 118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07261" h="1183640">
                      <a:moveTo>
                        <a:pt x="1402087" y="0"/>
                      </a:moveTo>
                      <a:lnTo>
                        <a:pt x="1402087" y="177800"/>
                      </a:lnTo>
                      <a:cubicBezTo>
                        <a:pt x="1376687" y="198120"/>
                        <a:pt x="1326734" y="209973"/>
                        <a:pt x="1325887" y="238760"/>
                      </a:cubicBezTo>
                      <a:cubicBezTo>
                        <a:pt x="1325040" y="267547"/>
                        <a:pt x="1407167" y="318347"/>
                        <a:pt x="1407167" y="340360"/>
                      </a:cubicBezTo>
                      <a:cubicBezTo>
                        <a:pt x="1407167" y="362373"/>
                        <a:pt x="1319960" y="381847"/>
                        <a:pt x="1330967" y="421640"/>
                      </a:cubicBezTo>
                      <a:cubicBezTo>
                        <a:pt x="1341974" y="461433"/>
                        <a:pt x="1407167" y="494453"/>
                        <a:pt x="1402087" y="518160"/>
                      </a:cubicBezTo>
                      <a:cubicBezTo>
                        <a:pt x="1397007" y="541867"/>
                        <a:pt x="1326734" y="552873"/>
                        <a:pt x="1325887" y="589280"/>
                      </a:cubicBezTo>
                      <a:cubicBezTo>
                        <a:pt x="1325040" y="625687"/>
                        <a:pt x="1403780" y="658707"/>
                        <a:pt x="1407167" y="690880"/>
                      </a:cubicBezTo>
                      <a:cubicBezTo>
                        <a:pt x="1410554" y="723053"/>
                        <a:pt x="1321654" y="736600"/>
                        <a:pt x="1325887" y="772160"/>
                      </a:cubicBezTo>
                      <a:cubicBezTo>
                        <a:pt x="1330120" y="807720"/>
                        <a:pt x="1380074" y="833120"/>
                        <a:pt x="1407167" y="863600"/>
                      </a:cubicBezTo>
                      <a:cubicBezTo>
                        <a:pt x="1393620" y="902547"/>
                        <a:pt x="1390234" y="944880"/>
                        <a:pt x="1366527" y="980440"/>
                      </a:cubicBezTo>
                      <a:cubicBezTo>
                        <a:pt x="1342820" y="1016000"/>
                        <a:pt x="1100674" y="1145540"/>
                        <a:pt x="1036327" y="1178560"/>
                      </a:cubicBezTo>
                      <a:lnTo>
                        <a:pt x="381007" y="1183640"/>
                      </a:lnTo>
                      <a:cubicBezTo>
                        <a:pt x="200667" y="1098973"/>
                        <a:pt x="25407" y="996527"/>
                        <a:pt x="15247" y="899160"/>
                      </a:cubicBezTo>
                      <a:cubicBezTo>
                        <a:pt x="33874" y="870373"/>
                        <a:pt x="75360" y="836507"/>
                        <a:pt x="71127" y="812800"/>
                      </a:cubicBezTo>
                      <a:cubicBezTo>
                        <a:pt x="66894" y="789093"/>
                        <a:pt x="854" y="764540"/>
                        <a:pt x="7" y="736600"/>
                      </a:cubicBezTo>
                      <a:cubicBezTo>
                        <a:pt x="-840" y="708660"/>
                        <a:pt x="79594" y="654473"/>
                        <a:pt x="81287" y="624840"/>
                      </a:cubicBezTo>
                      <a:cubicBezTo>
                        <a:pt x="82980" y="595207"/>
                        <a:pt x="5934" y="581660"/>
                        <a:pt x="10167" y="548640"/>
                      </a:cubicBezTo>
                      <a:cubicBezTo>
                        <a:pt x="14400" y="515620"/>
                        <a:pt x="77054" y="488527"/>
                        <a:pt x="76207" y="462280"/>
                      </a:cubicBezTo>
                      <a:cubicBezTo>
                        <a:pt x="75360" y="436033"/>
                        <a:pt x="854" y="396240"/>
                        <a:pt x="5087" y="370840"/>
                      </a:cubicBezTo>
                      <a:cubicBezTo>
                        <a:pt x="9320" y="345440"/>
                        <a:pt x="80864" y="300143"/>
                        <a:pt x="81287" y="274320"/>
                      </a:cubicBezTo>
                      <a:cubicBezTo>
                        <a:pt x="81710" y="248497"/>
                        <a:pt x="29640" y="234527"/>
                        <a:pt x="7627" y="215900"/>
                      </a:cubicBezTo>
                      <a:cubicBezTo>
                        <a:pt x="6780" y="145627"/>
                        <a:pt x="5934" y="75353"/>
                        <a:pt x="5087" y="5080"/>
                      </a:cubicBezTo>
                      <a:lnTo>
                        <a:pt x="1402087" y="0"/>
                      </a:lnTo>
                      <a:close/>
                    </a:path>
                  </a:pathLst>
                </a:custGeom>
                <a:gradFill flip="none" rotWithShape="1">
                  <a:gsLst>
                    <a:gs pos="0">
                      <a:schemeClr val="bg1">
                        <a:lumMod val="30000"/>
                      </a:schemeClr>
                    </a:gs>
                    <a:gs pos="85000">
                      <a:schemeClr val="bg1">
                        <a:lumMod val="95000"/>
                      </a:schemeClr>
                    </a:gs>
                    <a:gs pos="42000">
                      <a:srgbClr val="B6B6B6">
                        <a:lumMod val="95000"/>
                      </a:srgbClr>
                    </a:gs>
                    <a:gs pos="70000">
                      <a:schemeClr val="bg1">
                        <a:lumMod val="66000"/>
                      </a:schemeClr>
                    </a:gs>
                    <a:gs pos="100000">
                      <a:schemeClr val="bg1">
                        <a:lumMod val="3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38" name="Freeform 37"/>
                <p:cNvSpPr/>
                <p:nvPr/>
              </p:nvSpPr>
              <p:spPr>
                <a:xfrm>
                  <a:off x="4088110" y="5582219"/>
                  <a:ext cx="972621" cy="141683"/>
                </a:xfrm>
                <a:custGeom>
                  <a:avLst/>
                  <a:gdLst/>
                  <a:ahLst/>
                  <a:cxnLst/>
                  <a:rect l="l" t="t" r="r" b="b"/>
                  <a:pathLst>
                    <a:path w="1391920" h="202763">
                      <a:moveTo>
                        <a:pt x="1319213" y="0"/>
                      </a:moveTo>
                      <a:cubicBezTo>
                        <a:pt x="1334296" y="26053"/>
                        <a:pt x="1370352" y="47098"/>
                        <a:pt x="1391920" y="71362"/>
                      </a:cubicBezTo>
                      <a:lnTo>
                        <a:pt x="1381165" y="110247"/>
                      </a:lnTo>
                      <a:lnTo>
                        <a:pt x="58123" y="202763"/>
                      </a:lnTo>
                      <a:cubicBezTo>
                        <a:pt x="24364" y="171244"/>
                        <a:pt x="3328" y="138811"/>
                        <a:pt x="0" y="106922"/>
                      </a:cubicBezTo>
                      <a:lnTo>
                        <a:pt x="11949" y="9141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39" name="Freeform 38"/>
                <p:cNvSpPr/>
                <p:nvPr/>
              </p:nvSpPr>
              <p:spPr>
                <a:xfrm>
                  <a:off x="4077456" y="5459198"/>
                  <a:ext cx="983340" cy="141952"/>
                </a:xfrm>
                <a:custGeom>
                  <a:avLst/>
                  <a:gdLst/>
                  <a:ahLst/>
                  <a:cxnLst/>
                  <a:rect l="l" t="t" r="r" b="b"/>
                  <a:pathLst>
                    <a:path w="1407261" h="203148">
                      <a:moveTo>
                        <a:pt x="1336797" y="0"/>
                      </a:moveTo>
                      <a:cubicBezTo>
                        <a:pt x="1357661" y="27201"/>
                        <a:pt x="1404570" y="52371"/>
                        <a:pt x="1407167" y="77042"/>
                      </a:cubicBezTo>
                      <a:cubicBezTo>
                        <a:pt x="1408668" y="91297"/>
                        <a:pt x="1392052" y="101895"/>
                        <a:pt x="1373255" y="112030"/>
                      </a:cubicBezTo>
                      <a:lnTo>
                        <a:pt x="70196" y="203148"/>
                      </a:lnTo>
                      <a:cubicBezTo>
                        <a:pt x="71464" y="201748"/>
                        <a:pt x="71373" y="200338"/>
                        <a:pt x="71127" y="198962"/>
                      </a:cubicBezTo>
                      <a:cubicBezTo>
                        <a:pt x="66894" y="175255"/>
                        <a:pt x="854" y="150702"/>
                        <a:pt x="7" y="122762"/>
                      </a:cubicBezTo>
                      <a:cubicBezTo>
                        <a:pt x="-246" y="114413"/>
                        <a:pt x="6760" y="103719"/>
                        <a:pt x="17044" y="92286"/>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40" name="Freeform 39"/>
                <p:cNvSpPr/>
                <p:nvPr/>
              </p:nvSpPr>
              <p:spPr>
                <a:xfrm>
                  <a:off x="4084442" y="5334842"/>
                  <a:ext cx="972935" cy="141885"/>
                </a:xfrm>
                <a:custGeom>
                  <a:avLst/>
                  <a:gdLst/>
                  <a:ahLst/>
                  <a:cxnLst/>
                  <a:rect l="l" t="t" r="r" b="b"/>
                  <a:pathLst>
                    <a:path w="1392370" h="203052">
                      <a:moveTo>
                        <a:pt x="1329184" y="0"/>
                      </a:moveTo>
                      <a:cubicBezTo>
                        <a:pt x="1347693" y="33963"/>
                        <a:pt x="1396511" y="61654"/>
                        <a:pt x="1392089" y="82288"/>
                      </a:cubicBezTo>
                      <a:cubicBezTo>
                        <a:pt x="1389561" y="94086"/>
                        <a:pt x="1370889" y="102738"/>
                        <a:pt x="1352660" y="112938"/>
                      </a:cubicBezTo>
                      <a:lnTo>
                        <a:pt x="63968" y="203052"/>
                      </a:lnTo>
                      <a:cubicBezTo>
                        <a:pt x="68944" y="198570"/>
                        <a:pt x="71031" y="193484"/>
                        <a:pt x="71289" y="188968"/>
                      </a:cubicBezTo>
                      <a:cubicBezTo>
                        <a:pt x="72982" y="159335"/>
                        <a:pt x="-4064" y="145788"/>
                        <a:pt x="169" y="112768"/>
                      </a:cubicBezTo>
                      <a:lnTo>
                        <a:pt x="10766" y="9219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41" name="Freeform 40"/>
                <p:cNvSpPr/>
                <p:nvPr/>
              </p:nvSpPr>
              <p:spPr>
                <a:xfrm>
                  <a:off x="4080889" y="5208287"/>
                  <a:ext cx="979841" cy="141561"/>
                </a:xfrm>
                <a:custGeom>
                  <a:avLst/>
                  <a:gdLst/>
                  <a:ahLst/>
                  <a:cxnLst/>
                  <a:rect l="l" t="t" r="r" b="b"/>
                  <a:pathLst>
                    <a:path w="1402254" h="202589">
                      <a:moveTo>
                        <a:pt x="1327165" y="0"/>
                      </a:moveTo>
                      <a:cubicBezTo>
                        <a:pt x="1345502" y="29113"/>
                        <a:pt x="1402254" y="67305"/>
                        <a:pt x="1402254" y="85604"/>
                      </a:cubicBezTo>
                      <a:cubicBezTo>
                        <a:pt x="1402254" y="94165"/>
                        <a:pt x="1389065" y="102342"/>
                        <a:pt x="1373510" y="111338"/>
                      </a:cubicBezTo>
                      <a:lnTo>
                        <a:pt x="68561" y="202589"/>
                      </a:lnTo>
                      <a:cubicBezTo>
                        <a:pt x="60713" y="175951"/>
                        <a:pt x="-3772" y="139763"/>
                        <a:pt x="174" y="116084"/>
                      </a:cubicBezTo>
                      <a:cubicBezTo>
                        <a:pt x="1332" y="109136"/>
                        <a:pt x="7527" y="100699"/>
                        <a:pt x="16039" y="91683"/>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42" name="Freeform 41"/>
                <p:cNvSpPr/>
                <p:nvPr/>
              </p:nvSpPr>
              <p:spPr>
                <a:xfrm>
                  <a:off x="4336590" y="5852030"/>
                  <a:ext cx="470337" cy="95190"/>
                </a:xfrm>
                <a:custGeom>
                  <a:avLst/>
                  <a:gdLst>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325"/>
                    <a:gd name="connsiteX1" fmla="*/ 241300 w 673100"/>
                    <a:gd name="connsiteY1" fmla="*/ 121920 h 127325"/>
                    <a:gd name="connsiteX2" fmla="*/ 434340 w 673100"/>
                    <a:gd name="connsiteY2" fmla="*/ 127000 h 127325"/>
                    <a:gd name="connsiteX3" fmla="*/ 673100 w 673100"/>
                    <a:gd name="connsiteY3" fmla="*/ 0 h 127325"/>
                    <a:gd name="connsiteX4" fmla="*/ 0 w 673100"/>
                    <a:gd name="connsiteY4" fmla="*/ 5080 h 127325"/>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4622"/>
                    <a:gd name="connsiteX1" fmla="*/ 241300 w 673100"/>
                    <a:gd name="connsiteY1" fmla="*/ 121920 h 134622"/>
                    <a:gd name="connsiteX2" fmla="*/ 434340 w 673100"/>
                    <a:gd name="connsiteY2" fmla="*/ 127000 h 134622"/>
                    <a:gd name="connsiteX3" fmla="*/ 673100 w 673100"/>
                    <a:gd name="connsiteY3" fmla="*/ 0 h 134622"/>
                    <a:gd name="connsiteX4" fmla="*/ 0 w 673100"/>
                    <a:gd name="connsiteY4" fmla="*/ 5080 h 134622"/>
                    <a:gd name="connsiteX0" fmla="*/ 0 w 673100"/>
                    <a:gd name="connsiteY0" fmla="*/ 5080 h 136227"/>
                    <a:gd name="connsiteX1" fmla="*/ 241300 w 673100"/>
                    <a:gd name="connsiteY1" fmla="*/ 121920 h 136227"/>
                    <a:gd name="connsiteX2" fmla="*/ 434340 w 673100"/>
                    <a:gd name="connsiteY2" fmla="*/ 127000 h 136227"/>
                    <a:gd name="connsiteX3" fmla="*/ 673100 w 673100"/>
                    <a:gd name="connsiteY3" fmla="*/ 0 h 136227"/>
                    <a:gd name="connsiteX4" fmla="*/ 0 w 673100"/>
                    <a:gd name="connsiteY4" fmla="*/ 5080 h 136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00" h="136227">
                      <a:moveTo>
                        <a:pt x="0" y="5080"/>
                      </a:moveTo>
                      <a:cubicBezTo>
                        <a:pt x="423" y="32597"/>
                        <a:pt x="226483" y="106892"/>
                        <a:pt x="241300" y="121920"/>
                      </a:cubicBezTo>
                      <a:cubicBezTo>
                        <a:pt x="256117" y="136948"/>
                        <a:pt x="421428" y="142452"/>
                        <a:pt x="434340" y="127000"/>
                      </a:cubicBezTo>
                      <a:cubicBezTo>
                        <a:pt x="447252" y="111548"/>
                        <a:pt x="671618" y="23283"/>
                        <a:pt x="673100" y="0"/>
                      </a:cubicBezTo>
                      <a:lnTo>
                        <a:pt x="0" y="508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36" name="Oval 35"/>
              <p:cNvSpPr/>
              <p:nvPr/>
            </p:nvSpPr>
            <p:spPr>
              <a:xfrm rot="19080000" flipH="1">
                <a:off x="3521505" y="2435407"/>
                <a:ext cx="890063" cy="265634"/>
              </a:xfrm>
              <a:prstGeom prst="ellipse">
                <a:avLst/>
              </a:prstGeom>
              <a:gradFill flip="none" rotWithShape="1">
                <a:gsLst>
                  <a:gs pos="28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32" name="Oval 31"/>
            <p:cNvSpPr/>
            <p:nvPr/>
          </p:nvSpPr>
          <p:spPr>
            <a:xfrm>
              <a:off x="6247117" y="2512770"/>
              <a:ext cx="1162056" cy="1079812"/>
            </a:xfrm>
            <a:prstGeom prst="ellipse">
              <a:avLst/>
            </a:prstGeom>
            <a:gradFill flip="none" rotWithShape="1">
              <a:gsLst>
                <a:gs pos="32000">
                  <a:srgbClr val="00B0F0"/>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ysClr val="window" lastClr="FFFFFF"/>
                </a:solidFill>
                <a:latin typeface="Arial" panose="020B0604020202020204" pitchFamily="34" charset="0"/>
                <a:cs typeface="Arial" panose="020B0604020202020204" pitchFamily="34" charset="0"/>
              </a:endParaRPr>
            </a:p>
          </p:txBody>
        </p:sp>
      </p:grpSp>
      <p:grpSp>
        <p:nvGrpSpPr>
          <p:cNvPr id="52" name="Group 51"/>
          <p:cNvGrpSpPr/>
          <p:nvPr userDrawn="1"/>
        </p:nvGrpSpPr>
        <p:grpSpPr>
          <a:xfrm rot="18795435">
            <a:off x="6774043" y="2441107"/>
            <a:ext cx="588708" cy="1040024"/>
            <a:chOff x="5869118" y="1864852"/>
            <a:chExt cx="1875650" cy="3313563"/>
          </a:xfrm>
        </p:grpSpPr>
        <p:grpSp>
          <p:nvGrpSpPr>
            <p:cNvPr id="53" name="Group 52"/>
            <p:cNvGrpSpPr/>
            <p:nvPr/>
          </p:nvGrpSpPr>
          <p:grpSpPr>
            <a:xfrm>
              <a:off x="5869118" y="1864852"/>
              <a:ext cx="1875650" cy="3313563"/>
              <a:chOff x="3509193" y="2208611"/>
              <a:chExt cx="2116248" cy="3738609"/>
            </a:xfrm>
          </p:grpSpPr>
          <p:sp>
            <p:nvSpPr>
              <p:cNvPr id="55" name="Freeform 54"/>
              <p:cNvSpPr/>
              <p:nvPr/>
            </p:nvSpPr>
            <p:spPr>
              <a:xfrm>
                <a:off x="3509193" y="2208611"/>
                <a:ext cx="2116248" cy="2832368"/>
              </a:xfrm>
              <a:custGeom>
                <a:avLst/>
                <a:gdLst>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88" h="1692915">
                    <a:moveTo>
                      <a:pt x="632444" y="0"/>
                    </a:moveTo>
                    <a:cubicBezTo>
                      <a:pt x="981735" y="7"/>
                      <a:pt x="1264888" y="283165"/>
                      <a:pt x="1264888" y="632458"/>
                    </a:cubicBezTo>
                    <a:cubicBezTo>
                      <a:pt x="1264888" y="722053"/>
                      <a:pt x="1243620" y="800469"/>
                      <a:pt x="1212119" y="884292"/>
                    </a:cubicBezTo>
                    <a:cubicBezTo>
                      <a:pt x="1180618" y="968115"/>
                      <a:pt x="1050676" y="1160843"/>
                      <a:pt x="1026175" y="1272920"/>
                    </a:cubicBezTo>
                    <a:cubicBezTo>
                      <a:pt x="1001674" y="1384997"/>
                      <a:pt x="991603" y="1515490"/>
                      <a:pt x="972341" y="1634870"/>
                    </a:cubicBezTo>
                    <a:cubicBezTo>
                      <a:pt x="968177" y="1660679"/>
                      <a:pt x="924730" y="1693412"/>
                      <a:pt x="888132" y="1692910"/>
                    </a:cubicBezTo>
                    <a:cubicBezTo>
                      <a:pt x="851534" y="1692408"/>
                      <a:pt x="429358" y="1692412"/>
                      <a:pt x="376023" y="1692910"/>
                    </a:cubicBezTo>
                    <a:cubicBezTo>
                      <a:pt x="322688" y="1693408"/>
                      <a:pt x="296690" y="1660741"/>
                      <a:pt x="292547" y="1635064"/>
                    </a:cubicBezTo>
                    <a:cubicBezTo>
                      <a:pt x="273285" y="1515684"/>
                      <a:pt x="263214" y="1385191"/>
                      <a:pt x="238713" y="1273114"/>
                    </a:cubicBezTo>
                    <a:cubicBezTo>
                      <a:pt x="214212" y="1161037"/>
                      <a:pt x="84270" y="968309"/>
                      <a:pt x="52769" y="884486"/>
                    </a:cubicBezTo>
                    <a:cubicBezTo>
                      <a:pt x="21268" y="800663"/>
                      <a:pt x="0" y="722247"/>
                      <a:pt x="0" y="632652"/>
                    </a:cubicBezTo>
                    <a:cubicBezTo>
                      <a:pt x="0" y="283359"/>
                      <a:pt x="283153" y="201"/>
                      <a:pt x="632444" y="194"/>
                    </a:cubicBezTo>
                    <a:lnTo>
                      <a:pt x="632444" y="0"/>
                    </a:lnTo>
                    <a:close/>
                  </a:path>
                </a:pathLst>
              </a:custGeom>
              <a:solidFill>
                <a:srgbClr val="00B0F0">
                  <a:alpha val="20000"/>
                </a:srgbClr>
              </a:solidFill>
              <a:ln>
                <a:noFill/>
              </a:ln>
              <a:effectLst/>
              <a:scene3d>
                <a:camera prst="orthographicFront">
                  <a:rot lat="0" lon="0" rev="0"/>
                </a:camera>
                <a:lightRig rig="twoPt" dir="t">
                  <a:rot lat="0" lon="0" rev="0"/>
                </a:lightRig>
              </a:scene3d>
              <a:sp3d prstMaterial="clear">
                <a:bevelT w="317500" h="1905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nvGrpSpPr>
              <p:cNvPr id="56" name="Group 55"/>
              <p:cNvGrpSpPr/>
              <p:nvPr/>
            </p:nvGrpSpPr>
            <p:grpSpPr>
              <a:xfrm>
                <a:off x="4221220" y="3554960"/>
                <a:ext cx="700181" cy="1502973"/>
                <a:chOff x="6480420" y="3161623"/>
                <a:chExt cx="813818" cy="1746901"/>
              </a:xfrm>
            </p:grpSpPr>
            <p:sp>
              <p:nvSpPr>
                <p:cNvPr id="65" name="Freeform 64"/>
                <p:cNvSpPr/>
                <p:nvPr/>
              </p:nvSpPr>
              <p:spPr>
                <a:xfrm>
                  <a:off x="6747926" y="4123689"/>
                  <a:ext cx="27850" cy="772043"/>
                </a:xfrm>
                <a:custGeom>
                  <a:avLst/>
                  <a:gdLst>
                    <a:gd name="connsiteX0" fmla="*/ 0 w 34290"/>
                    <a:gd name="connsiteY0" fmla="*/ 0 h 950595"/>
                    <a:gd name="connsiteX1" fmla="*/ 34290 w 34290"/>
                    <a:gd name="connsiteY1" fmla="*/ 950595 h 950595"/>
                  </a:gdLst>
                  <a:ahLst/>
                  <a:cxnLst>
                    <a:cxn ang="0">
                      <a:pos x="connsiteX0" y="connsiteY0"/>
                    </a:cxn>
                    <a:cxn ang="0">
                      <a:pos x="connsiteX1" y="connsiteY1"/>
                    </a:cxn>
                  </a:cxnLst>
                  <a:rect l="l" t="t" r="r" b="b"/>
                  <a:pathLst>
                    <a:path w="34290" h="950595">
                      <a:moveTo>
                        <a:pt x="0" y="0"/>
                      </a:moveTo>
                      <a:lnTo>
                        <a:pt x="34290" y="950595"/>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66" name="Freeform 65"/>
                <p:cNvSpPr/>
                <p:nvPr/>
              </p:nvSpPr>
              <p:spPr>
                <a:xfrm>
                  <a:off x="7003162" y="4123690"/>
                  <a:ext cx="21660" cy="770496"/>
                </a:xfrm>
                <a:custGeom>
                  <a:avLst/>
                  <a:gdLst>
                    <a:gd name="connsiteX0" fmla="*/ 26670 w 26670"/>
                    <a:gd name="connsiteY0" fmla="*/ 0 h 948690"/>
                    <a:gd name="connsiteX1" fmla="*/ 0 w 26670"/>
                    <a:gd name="connsiteY1" fmla="*/ 948690 h 948690"/>
                  </a:gdLst>
                  <a:ahLst/>
                  <a:cxnLst>
                    <a:cxn ang="0">
                      <a:pos x="connsiteX0" y="connsiteY0"/>
                    </a:cxn>
                    <a:cxn ang="0">
                      <a:pos x="connsiteX1" y="connsiteY1"/>
                    </a:cxn>
                  </a:cxnLst>
                  <a:rect l="l" t="t" r="r" b="b"/>
                  <a:pathLst>
                    <a:path w="26670" h="948690">
                      <a:moveTo>
                        <a:pt x="26670" y="0"/>
                      </a:moveTo>
                      <a:lnTo>
                        <a:pt x="0" y="948690"/>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67" name="Freeform 66"/>
                <p:cNvSpPr/>
                <p:nvPr/>
              </p:nvSpPr>
              <p:spPr>
                <a:xfrm>
                  <a:off x="6672271" y="3166397"/>
                  <a:ext cx="120681" cy="521400"/>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123 w 148713"/>
                    <a:gd name="connsiteY0" fmla="*/ 0 h 641985"/>
                    <a:gd name="connsiteX1" fmla="*/ 3933 w 148713"/>
                    <a:gd name="connsiteY1" fmla="*/ 110490 h 641985"/>
                    <a:gd name="connsiteX2" fmla="*/ 34413 w 148713"/>
                    <a:gd name="connsiteY2" fmla="*/ 129540 h 641985"/>
                    <a:gd name="connsiteX3" fmla="*/ 57273 w 148713"/>
                    <a:gd name="connsiteY3" fmla="*/ 87630 h 641985"/>
                    <a:gd name="connsiteX4" fmla="*/ 30603 w 148713"/>
                    <a:gd name="connsiteY4" fmla="*/ 57150 h 641985"/>
                    <a:gd name="connsiteX5" fmla="*/ 15363 w 148713"/>
                    <a:gd name="connsiteY5" fmla="*/ 144780 h 641985"/>
                    <a:gd name="connsiteX6" fmla="*/ 148713 w 148713"/>
                    <a:gd name="connsiteY6" fmla="*/ 641985 h 641985"/>
                    <a:gd name="connsiteX0" fmla="*/ 0 w 148590"/>
                    <a:gd name="connsiteY0" fmla="*/ 0 h 641985"/>
                    <a:gd name="connsiteX1" fmla="*/ 3810 w 148590"/>
                    <a:gd name="connsiteY1" fmla="*/ 110490 h 641985"/>
                    <a:gd name="connsiteX2" fmla="*/ 34290 w 148590"/>
                    <a:gd name="connsiteY2" fmla="*/ 129540 h 641985"/>
                    <a:gd name="connsiteX3" fmla="*/ 57150 w 148590"/>
                    <a:gd name="connsiteY3" fmla="*/ 87630 h 641985"/>
                    <a:gd name="connsiteX4" fmla="*/ 30480 w 148590"/>
                    <a:gd name="connsiteY4" fmla="*/ 57150 h 641985"/>
                    <a:gd name="connsiteX5" fmla="*/ 15240 w 148590"/>
                    <a:gd name="connsiteY5" fmla="*/ 144780 h 641985"/>
                    <a:gd name="connsiteX6" fmla="*/ 148590 w 148590"/>
                    <a:gd name="connsiteY6" fmla="*/ 641985 h 64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 h="641985">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931" y="57677"/>
                        <a:pt x="30480" y="57150"/>
                      </a:cubicBezTo>
                      <a:cubicBezTo>
                        <a:pt x="8255" y="56515"/>
                        <a:pt x="-4445" y="47308"/>
                        <a:pt x="15240" y="144780"/>
                      </a:cubicBezTo>
                      <a:cubicBezTo>
                        <a:pt x="34925" y="242253"/>
                        <a:pt x="104140" y="467995"/>
                        <a:pt x="148590" y="641985"/>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68" name="Freeform 67"/>
                <p:cNvSpPr/>
                <p:nvPr/>
              </p:nvSpPr>
              <p:spPr>
                <a:xfrm rot="21360000" flipH="1">
                  <a:off x="6946994" y="3161623"/>
                  <a:ext cx="116190" cy="521665"/>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061" h="642311">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877" y="55639"/>
                        <a:pt x="30480" y="57150"/>
                      </a:cubicBezTo>
                      <a:cubicBezTo>
                        <a:pt x="6441" y="59125"/>
                        <a:pt x="-3523" y="47253"/>
                        <a:pt x="15240" y="144780"/>
                      </a:cubicBezTo>
                      <a:cubicBezTo>
                        <a:pt x="34003" y="242307"/>
                        <a:pt x="98611" y="468321"/>
                        <a:pt x="143061" y="642311"/>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69" name="Freeform 68"/>
                <p:cNvSpPr/>
                <p:nvPr/>
              </p:nvSpPr>
              <p:spPr>
                <a:xfrm>
                  <a:off x="6480420" y="3237725"/>
                  <a:ext cx="812786" cy="82516"/>
                </a:xfrm>
                <a:custGeom>
                  <a:avLst/>
                  <a:gdLst>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1000760" h="101600">
                      <a:moveTo>
                        <a:pt x="0" y="86360"/>
                      </a:moveTo>
                      <a:cubicBezTo>
                        <a:pt x="143087" y="92287"/>
                        <a:pt x="174413" y="55033"/>
                        <a:pt x="261620" y="5080"/>
                      </a:cubicBezTo>
                      <a:cubicBezTo>
                        <a:pt x="395393" y="33867"/>
                        <a:pt x="516467" y="37253"/>
                        <a:pt x="662940" y="0"/>
                      </a:cubicBezTo>
                      <a:cubicBezTo>
                        <a:pt x="813647" y="69427"/>
                        <a:pt x="865293" y="90593"/>
                        <a:pt x="1000760" y="101600"/>
                      </a:cubicBezTo>
                    </a:path>
                  </a:pathLst>
                </a:custGeom>
                <a:noFill/>
                <a:ln w="19050" cap="rnd" cmpd="sng">
                  <a:solidFill>
                    <a:schemeClr val="tx1">
                      <a:lumMod val="50000"/>
                      <a:lumOff val="50000"/>
                    </a:schemeClr>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70" name="Freeform 69"/>
                <p:cNvSpPr/>
                <p:nvPr/>
              </p:nvSpPr>
              <p:spPr>
                <a:xfrm flipH="1">
                  <a:off x="6678460" y="3749170"/>
                  <a:ext cx="412581" cy="1159354"/>
                </a:xfrm>
                <a:custGeom>
                  <a:avLst/>
                  <a:gdLst/>
                  <a:ahLst/>
                  <a:cxnLst/>
                  <a:rect l="l" t="t" r="r" b="b"/>
                  <a:pathLst>
                    <a:path w="508000" h="1427480">
                      <a:moveTo>
                        <a:pt x="254000" y="647700"/>
                      </a:moveTo>
                      <a:cubicBezTo>
                        <a:pt x="294681" y="647700"/>
                        <a:pt x="327660" y="680679"/>
                        <a:pt x="327660" y="721360"/>
                      </a:cubicBezTo>
                      <a:cubicBezTo>
                        <a:pt x="327660" y="762041"/>
                        <a:pt x="294681" y="795020"/>
                        <a:pt x="254000" y="795020"/>
                      </a:cubicBezTo>
                      <a:cubicBezTo>
                        <a:pt x="213319" y="795020"/>
                        <a:pt x="180340" y="762041"/>
                        <a:pt x="180340" y="721360"/>
                      </a:cubicBezTo>
                      <a:cubicBezTo>
                        <a:pt x="180340" y="680679"/>
                        <a:pt x="213319" y="647700"/>
                        <a:pt x="254000" y="647700"/>
                      </a:cubicBezTo>
                      <a:close/>
                      <a:moveTo>
                        <a:pt x="325120" y="0"/>
                      </a:moveTo>
                      <a:lnTo>
                        <a:pt x="254000" y="2453"/>
                      </a:lnTo>
                      <a:lnTo>
                        <a:pt x="182880" y="0"/>
                      </a:lnTo>
                      <a:lnTo>
                        <a:pt x="182880" y="375920"/>
                      </a:lnTo>
                      <a:cubicBezTo>
                        <a:pt x="178647" y="395393"/>
                        <a:pt x="191135" y="416348"/>
                        <a:pt x="170180" y="434340"/>
                      </a:cubicBezTo>
                      <a:cubicBezTo>
                        <a:pt x="149225" y="452332"/>
                        <a:pt x="11007" y="447040"/>
                        <a:pt x="10160" y="551180"/>
                      </a:cubicBezTo>
                      <a:cubicBezTo>
                        <a:pt x="9313" y="655320"/>
                        <a:pt x="53975" y="768138"/>
                        <a:pt x="53340" y="817880"/>
                      </a:cubicBezTo>
                      <a:cubicBezTo>
                        <a:pt x="52705" y="867622"/>
                        <a:pt x="0" y="937472"/>
                        <a:pt x="0" y="995680"/>
                      </a:cubicBezTo>
                      <a:lnTo>
                        <a:pt x="0" y="1427480"/>
                      </a:lnTo>
                      <a:lnTo>
                        <a:pt x="254000" y="1427480"/>
                      </a:lnTo>
                      <a:lnTo>
                        <a:pt x="508000" y="1427480"/>
                      </a:lnTo>
                      <a:lnTo>
                        <a:pt x="508000" y="995680"/>
                      </a:lnTo>
                      <a:cubicBezTo>
                        <a:pt x="508000" y="937472"/>
                        <a:pt x="455295" y="867622"/>
                        <a:pt x="454660" y="817880"/>
                      </a:cubicBezTo>
                      <a:cubicBezTo>
                        <a:pt x="454025" y="768138"/>
                        <a:pt x="498687" y="655320"/>
                        <a:pt x="497840" y="551180"/>
                      </a:cubicBezTo>
                      <a:cubicBezTo>
                        <a:pt x="496993" y="447040"/>
                        <a:pt x="358775" y="452332"/>
                        <a:pt x="337820" y="434340"/>
                      </a:cubicBezTo>
                      <a:cubicBezTo>
                        <a:pt x="316865" y="416348"/>
                        <a:pt x="329353" y="395393"/>
                        <a:pt x="325120" y="375920"/>
                      </a:cubicBezTo>
                      <a:close/>
                    </a:path>
                  </a:pathLst>
                </a:custGeom>
                <a:solidFill>
                  <a:schemeClr val="bg1">
                    <a:alpha val="20000"/>
                  </a:schemeClr>
                </a:solidFill>
                <a:ln>
                  <a:noFill/>
                </a:ln>
                <a:effectLst/>
                <a:scene3d>
                  <a:camera prst="orthographicFront">
                    <a:rot lat="0" lon="0" rev="0"/>
                  </a:camera>
                  <a:lightRig rig="chilly" dir="t"/>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71" name="Freeform 70"/>
                <p:cNvSpPr/>
                <p:nvPr/>
              </p:nvSpPr>
              <p:spPr>
                <a:xfrm>
                  <a:off x="6480420"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72" name="Freeform 71"/>
                <p:cNvSpPr/>
                <p:nvPr/>
              </p:nvSpPr>
              <p:spPr>
                <a:xfrm flipH="1">
                  <a:off x="7028123"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73" name="Rounded Rectangle 72"/>
                <p:cNvSpPr/>
                <p:nvPr/>
              </p:nvSpPr>
              <p:spPr>
                <a:xfrm>
                  <a:off x="6771291" y="3686870"/>
                  <a:ext cx="222795" cy="61888"/>
                </a:xfrm>
                <a:prstGeom prst="roundRect">
                  <a:avLst>
                    <a:gd name="adj" fmla="val 50000"/>
                  </a:avLst>
                </a:prstGeom>
                <a:solidFill>
                  <a:schemeClr val="bg1">
                    <a:alpha val="2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grpSp>
            <p:nvGrpSpPr>
              <p:cNvPr id="57" name="Group 56"/>
              <p:cNvGrpSpPr/>
              <p:nvPr/>
            </p:nvGrpSpPr>
            <p:grpSpPr>
              <a:xfrm>
                <a:off x="4077456" y="5030272"/>
                <a:ext cx="983340" cy="916948"/>
                <a:chOff x="4077456" y="5030272"/>
                <a:chExt cx="983340" cy="916948"/>
              </a:xfrm>
            </p:grpSpPr>
            <p:sp>
              <p:nvSpPr>
                <p:cNvPr id="59" name="Freeform 58"/>
                <p:cNvSpPr/>
                <p:nvPr/>
              </p:nvSpPr>
              <p:spPr>
                <a:xfrm>
                  <a:off x="4077456" y="5030272"/>
                  <a:ext cx="983340" cy="827082"/>
                </a:xfrm>
                <a:custGeom>
                  <a:avLst/>
                  <a:gdLst>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303"/>
                    <a:gd name="connsiteY0" fmla="*/ 0 h 1183640"/>
                    <a:gd name="connsiteX1" fmla="*/ 1402080 w 1407303"/>
                    <a:gd name="connsiteY1" fmla="*/ 177800 h 1183640"/>
                    <a:gd name="connsiteX2" fmla="*/ 1325880 w 1407303"/>
                    <a:gd name="connsiteY2" fmla="*/ 238760 h 1183640"/>
                    <a:gd name="connsiteX3" fmla="*/ 1407160 w 1407303"/>
                    <a:gd name="connsiteY3" fmla="*/ 340360 h 1183640"/>
                    <a:gd name="connsiteX4" fmla="*/ 1330960 w 1407303"/>
                    <a:gd name="connsiteY4" fmla="*/ 421640 h 1183640"/>
                    <a:gd name="connsiteX5" fmla="*/ 1402080 w 1407303"/>
                    <a:gd name="connsiteY5" fmla="*/ 518160 h 1183640"/>
                    <a:gd name="connsiteX6" fmla="*/ 1325880 w 1407303"/>
                    <a:gd name="connsiteY6" fmla="*/ 589280 h 1183640"/>
                    <a:gd name="connsiteX7" fmla="*/ 1407160 w 1407303"/>
                    <a:gd name="connsiteY7" fmla="*/ 690880 h 1183640"/>
                    <a:gd name="connsiteX8" fmla="*/ 1325880 w 1407303"/>
                    <a:gd name="connsiteY8" fmla="*/ 772160 h 1183640"/>
                    <a:gd name="connsiteX9" fmla="*/ 1407160 w 1407303"/>
                    <a:gd name="connsiteY9" fmla="*/ 863600 h 1183640"/>
                    <a:gd name="connsiteX10" fmla="*/ 1366520 w 1407303"/>
                    <a:gd name="connsiteY10" fmla="*/ 980440 h 1183640"/>
                    <a:gd name="connsiteX11" fmla="*/ 1036320 w 1407303"/>
                    <a:gd name="connsiteY11" fmla="*/ 1178560 h 1183640"/>
                    <a:gd name="connsiteX12" fmla="*/ 381000 w 1407303"/>
                    <a:gd name="connsiteY12" fmla="*/ 1183640 h 1183640"/>
                    <a:gd name="connsiteX13" fmla="*/ 15240 w 1407303"/>
                    <a:gd name="connsiteY13" fmla="*/ 899160 h 1183640"/>
                    <a:gd name="connsiteX14" fmla="*/ 71120 w 1407303"/>
                    <a:gd name="connsiteY14" fmla="*/ 812800 h 1183640"/>
                    <a:gd name="connsiteX15" fmla="*/ 0 w 1407303"/>
                    <a:gd name="connsiteY15" fmla="*/ 736600 h 1183640"/>
                    <a:gd name="connsiteX16" fmla="*/ 81280 w 1407303"/>
                    <a:gd name="connsiteY16" fmla="*/ 624840 h 1183640"/>
                    <a:gd name="connsiteX17" fmla="*/ 10160 w 1407303"/>
                    <a:gd name="connsiteY17" fmla="*/ 548640 h 1183640"/>
                    <a:gd name="connsiteX18" fmla="*/ 76200 w 1407303"/>
                    <a:gd name="connsiteY18" fmla="*/ 462280 h 1183640"/>
                    <a:gd name="connsiteX19" fmla="*/ 5080 w 1407303"/>
                    <a:gd name="connsiteY19" fmla="*/ 370840 h 1183640"/>
                    <a:gd name="connsiteX20" fmla="*/ 81280 w 1407303"/>
                    <a:gd name="connsiteY20" fmla="*/ 274320 h 1183640"/>
                    <a:gd name="connsiteX21" fmla="*/ 15240 w 1407303"/>
                    <a:gd name="connsiteY21" fmla="*/ 218440 h 1183640"/>
                    <a:gd name="connsiteX22" fmla="*/ 5080 w 1407303"/>
                    <a:gd name="connsiteY22" fmla="*/ 5080 h 1183640"/>
                    <a:gd name="connsiteX23" fmla="*/ 1402080 w 1407303"/>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9 w 1407263"/>
                    <a:gd name="connsiteY0" fmla="*/ 0 h 1183640"/>
                    <a:gd name="connsiteX1" fmla="*/ 1402089 w 1407263"/>
                    <a:gd name="connsiteY1" fmla="*/ 177800 h 1183640"/>
                    <a:gd name="connsiteX2" fmla="*/ 1325889 w 1407263"/>
                    <a:gd name="connsiteY2" fmla="*/ 238760 h 1183640"/>
                    <a:gd name="connsiteX3" fmla="*/ 1407169 w 1407263"/>
                    <a:gd name="connsiteY3" fmla="*/ 340360 h 1183640"/>
                    <a:gd name="connsiteX4" fmla="*/ 1330969 w 1407263"/>
                    <a:gd name="connsiteY4" fmla="*/ 421640 h 1183640"/>
                    <a:gd name="connsiteX5" fmla="*/ 1402089 w 1407263"/>
                    <a:gd name="connsiteY5" fmla="*/ 518160 h 1183640"/>
                    <a:gd name="connsiteX6" fmla="*/ 1325889 w 1407263"/>
                    <a:gd name="connsiteY6" fmla="*/ 589280 h 1183640"/>
                    <a:gd name="connsiteX7" fmla="*/ 1407169 w 1407263"/>
                    <a:gd name="connsiteY7" fmla="*/ 690880 h 1183640"/>
                    <a:gd name="connsiteX8" fmla="*/ 1325889 w 1407263"/>
                    <a:gd name="connsiteY8" fmla="*/ 772160 h 1183640"/>
                    <a:gd name="connsiteX9" fmla="*/ 1407169 w 1407263"/>
                    <a:gd name="connsiteY9" fmla="*/ 863600 h 1183640"/>
                    <a:gd name="connsiteX10" fmla="*/ 1366529 w 1407263"/>
                    <a:gd name="connsiteY10" fmla="*/ 980440 h 1183640"/>
                    <a:gd name="connsiteX11" fmla="*/ 1036329 w 1407263"/>
                    <a:gd name="connsiteY11" fmla="*/ 1178560 h 1183640"/>
                    <a:gd name="connsiteX12" fmla="*/ 381009 w 1407263"/>
                    <a:gd name="connsiteY12" fmla="*/ 1183640 h 1183640"/>
                    <a:gd name="connsiteX13" fmla="*/ 15249 w 1407263"/>
                    <a:gd name="connsiteY13" fmla="*/ 899160 h 1183640"/>
                    <a:gd name="connsiteX14" fmla="*/ 71129 w 1407263"/>
                    <a:gd name="connsiteY14" fmla="*/ 812800 h 1183640"/>
                    <a:gd name="connsiteX15" fmla="*/ 9 w 1407263"/>
                    <a:gd name="connsiteY15" fmla="*/ 736600 h 1183640"/>
                    <a:gd name="connsiteX16" fmla="*/ 81289 w 1407263"/>
                    <a:gd name="connsiteY16" fmla="*/ 624840 h 1183640"/>
                    <a:gd name="connsiteX17" fmla="*/ 10169 w 1407263"/>
                    <a:gd name="connsiteY17" fmla="*/ 548640 h 1183640"/>
                    <a:gd name="connsiteX18" fmla="*/ 76209 w 1407263"/>
                    <a:gd name="connsiteY18" fmla="*/ 462280 h 1183640"/>
                    <a:gd name="connsiteX19" fmla="*/ 5089 w 1407263"/>
                    <a:gd name="connsiteY19" fmla="*/ 370840 h 1183640"/>
                    <a:gd name="connsiteX20" fmla="*/ 81289 w 1407263"/>
                    <a:gd name="connsiteY20" fmla="*/ 274320 h 1183640"/>
                    <a:gd name="connsiteX21" fmla="*/ 15249 w 1407263"/>
                    <a:gd name="connsiteY21" fmla="*/ 218440 h 1183640"/>
                    <a:gd name="connsiteX22" fmla="*/ 5089 w 1407263"/>
                    <a:gd name="connsiteY22" fmla="*/ 5080 h 1183640"/>
                    <a:gd name="connsiteX23" fmla="*/ 1402089 w 1407263"/>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7627 w 1407261"/>
                    <a:gd name="connsiteY21" fmla="*/ 215900 h 1183640"/>
                    <a:gd name="connsiteX22" fmla="*/ 5087 w 1407261"/>
                    <a:gd name="connsiteY22" fmla="*/ 5080 h 1183640"/>
                    <a:gd name="connsiteX23" fmla="*/ 1402087 w 1407261"/>
                    <a:gd name="connsiteY23" fmla="*/ 0 h 118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07261" h="1183640">
                      <a:moveTo>
                        <a:pt x="1402087" y="0"/>
                      </a:moveTo>
                      <a:lnTo>
                        <a:pt x="1402087" y="177800"/>
                      </a:lnTo>
                      <a:cubicBezTo>
                        <a:pt x="1376687" y="198120"/>
                        <a:pt x="1326734" y="209973"/>
                        <a:pt x="1325887" y="238760"/>
                      </a:cubicBezTo>
                      <a:cubicBezTo>
                        <a:pt x="1325040" y="267547"/>
                        <a:pt x="1407167" y="318347"/>
                        <a:pt x="1407167" y="340360"/>
                      </a:cubicBezTo>
                      <a:cubicBezTo>
                        <a:pt x="1407167" y="362373"/>
                        <a:pt x="1319960" y="381847"/>
                        <a:pt x="1330967" y="421640"/>
                      </a:cubicBezTo>
                      <a:cubicBezTo>
                        <a:pt x="1341974" y="461433"/>
                        <a:pt x="1407167" y="494453"/>
                        <a:pt x="1402087" y="518160"/>
                      </a:cubicBezTo>
                      <a:cubicBezTo>
                        <a:pt x="1397007" y="541867"/>
                        <a:pt x="1326734" y="552873"/>
                        <a:pt x="1325887" y="589280"/>
                      </a:cubicBezTo>
                      <a:cubicBezTo>
                        <a:pt x="1325040" y="625687"/>
                        <a:pt x="1403780" y="658707"/>
                        <a:pt x="1407167" y="690880"/>
                      </a:cubicBezTo>
                      <a:cubicBezTo>
                        <a:pt x="1410554" y="723053"/>
                        <a:pt x="1321654" y="736600"/>
                        <a:pt x="1325887" y="772160"/>
                      </a:cubicBezTo>
                      <a:cubicBezTo>
                        <a:pt x="1330120" y="807720"/>
                        <a:pt x="1380074" y="833120"/>
                        <a:pt x="1407167" y="863600"/>
                      </a:cubicBezTo>
                      <a:cubicBezTo>
                        <a:pt x="1393620" y="902547"/>
                        <a:pt x="1390234" y="944880"/>
                        <a:pt x="1366527" y="980440"/>
                      </a:cubicBezTo>
                      <a:cubicBezTo>
                        <a:pt x="1342820" y="1016000"/>
                        <a:pt x="1100674" y="1145540"/>
                        <a:pt x="1036327" y="1178560"/>
                      </a:cubicBezTo>
                      <a:lnTo>
                        <a:pt x="381007" y="1183640"/>
                      </a:lnTo>
                      <a:cubicBezTo>
                        <a:pt x="200667" y="1098973"/>
                        <a:pt x="25407" y="996527"/>
                        <a:pt x="15247" y="899160"/>
                      </a:cubicBezTo>
                      <a:cubicBezTo>
                        <a:pt x="33874" y="870373"/>
                        <a:pt x="75360" y="836507"/>
                        <a:pt x="71127" y="812800"/>
                      </a:cubicBezTo>
                      <a:cubicBezTo>
                        <a:pt x="66894" y="789093"/>
                        <a:pt x="854" y="764540"/>
                        <a:pt x="7" y="736600"/>
                      </a:cubicBezTo>
                      <a:cubicBezTo>
                        <a:pt x="-840" y="708660"/>
                        <a:pt x="79594" y="654473"/>
                        <a:pt x="81287" y="624840"/>
                      </a:cubicBezTo>
                      <a:cubicBezTo>
                        <a:pt x="82980" y="595207"/>
                        <a:pt x="5934" y="581660"/>
                        <a:pt x="10167" y="548640"/>
                      </a:cubicBezTo>
                      <a:cubicBezTo>
                        <a:pt x="14400" y="515620"/>
                        <a:pt x="77054" y="488527"/>
                        <a:pt x="76207" y="462280"/>
                      </a:cubicBezTo>
                      <a:cubicBezTo>
                        <a:pt x="75360" y="436033"/>
                        <a:pt x="854" y="396240"/>
                        <a:pt x="5087" y="370840"/>
                      </a:cubicBezTo>
                      <a:cubicBezTo>
                        <a:pt x="9320" y="345440"/>
                        <a:pt x="80864" y="300143"/>
                        <a:pt x="81287" y="274320"/>
                      </a:cubicBezTo>
                      <a:cubicBezTo>
                        <a:pt x="81710" y="248497"/>
                        <a:pt x="29640" y="234527"/>
                        <a:pt x="7627" y="215900"/>
                      </a:cubicBezTo>
                      <a:cubicBezTo>
                        <a:pt x="6780" y="145627"/>
                        <a:pt x="5934" y="75353"/>
                        <a:pt x="5087" y="5080"/>
                      </a:cubicBezTo>
                      <a:lnTo>
                        <a:pt x="1402087" y="0"/>
                      </a:lnTo>
                      <a:close/>
                    </a:path>
                  </a:pathLst>
                </a:custGeom>
                <a:gradFill flip="none" rotWithShape="1">
                  <a:gsLst>
                    <a:gs pos="0">
                      <a:schemeClr val="bg1">
                        <a:lumMod val="30000"/>
                      </a:schemeClr>
                    </a:gs>
                    <a:gs pos="85000">
                      <a:schemeClr val="bg1">
                        <a:lumMod val="95000"/>
                      </a:schemeClr>
                    </a:gs>
                    <a:gs pos="42000">
                      <a:srgbClr val="B6B6B6">
                        <a:lumMod val="95000"/>
                      </a:srgbClr>
                    </a:gs>
                    <a:gs pos="70000">
                      <a:schemeClr val="bg1">
                        <a:lumMod val="66000"/>
                      </a:schemeClr>
                    </a:gs>
                    <a:gs pos="100000">
                      <a:schemeClr val="bg1">
                        <a:lumMod val="3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60" name="Freeform 59"/>
                <p:cNvSpPr/>
                <p:nvPr/>
              </p:nvSpPr>
              <p:spPr>
                <a:xfrm>
                  <a:off x="4088110" y="5582219"/>
                  <a:ext cx="972621" cy="141683"/>
                </a:xfrm>
                <a:custGeom>
                  <a:avLst/>
                  <a:gdLst/>
                  <a:ahLst/>
                  <a:cxnLst/>
                  <a:rect l="l" t="t" r="r" b="b"/>
                  <a:pathLst>
                    <a:path w="1391920" h="202763">
                      <a:moveTo>
                        <a:pt x="1319213" y="0"/>
                      </a:moveTo>
                      <a:cubicBezTo>
                        <a:pt x="1334296" y="26053"/>
                        <a:pt x="1370352" y="47098"/>
                        <a:pt x="1391920" y="71362"/>
                      </a:cubicBezTo>
                      <a:lnTo>
                        <a:pt x="1381165" y="110247"/>
                      </a:lnTo>
                      <a:lnTo>
                        <a:pt x="58123" y="202763"/>
                      </a:lnTo>
                      <a:cubicBezTo>
                        <a:pt x="24364" y="171244"/>
                        <a:pt x="3328" y="138811"/>
                        <a:pt x="0" y="106922"/>
                      </a:cubicBezTo>
                      <a:lnTo>
                        <a:pt x="11949" y="9141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61" name="Freeform 60"/>
                <p:cNvSpPr/>
                <p:nvPr/>
              </p:nvSpPr>
              <p:spPr>
                <a:xfrm>
                  <a:off x="4077456" y="5459198"/>
                  <a:ext cx="983340" cy="141952"/>
                </a:xfrm>
                <a:custGeom>
                  <a:avLst/>
                  <a:gdLst/>
                  <a:ahLst/>
                  <a:cxnLst/>
                  <a:rect l="l" t="t" r="r" b="b"/>
                  <a:pathLst>
                    <a:path w="1407261" h="203148">
                      <a:moveTo>
                        <a:pt x="1336797" y="0"/>
                      </a:moveTo>
                      <a:cubicBezTo>
                        <a:pt x="1357661" y="27201"/>
                        <a:pt x="1404570" y="52371"/>
                        <a:pt x="1407167" y="77042"/>
                      </a:cubicBezTo>
                      <a:cubicBezTo>
                        <a:pt x="1408668" y="91297"/>
                        <a:pt x="1392052" y="101895"/>
                        <a:pt x="1373255" y="112030"/>
                      </a:cubicBezTo>
                      <a:lnTo>
                        <a:pt x="70196" y="203148"/>
                      </a:lnTo>
                      <a:cubicBezTo>
                        <a:pt x="71464" y="201748"/>
                        <a:pt x="71373" y="200338"/>
                        <a:pt x="71127" y="198962"/>
                      </a:cubicBezTo>
                      <a:cubicBezTo>
                        <a:pt x="66894" y="175255"/>
                        <a:pt x="854" y="150702"/>
                        <a:pt x="7" y="122762"/>
                      </a:cubicBezTo>
                      <a:cubicBezTo>
                        <a:pt x="-246" y="114413"/>
                        <a:pt x="6760" y="103719"/>
                        <a:pt x="17044" y="92286"/>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62" name="Freeform 61"/>
                <p:cNvSpPr/>
                <p:nvPr/>
              </p:nvSpPr>
              <p:spPr>
                <a:xfrm>
                  <a:off x="4084442" y="5334842"/>
                  <a:ext cx="972935" cy="141885"/>
                </a:xfrm>
                <a:custGeom>
                  <a:avLst/>
                  <a:gdLst/>
                  <a:ahLst/>
                  <a:cxnLst/>
                  <a:rect l="l" t="t" r="r" b="b"/>
                  <a:pathLst>
                    <a:path w="1392370" h="203052">
                      <a:moveTo>
                        <a:pt x="1329184" y="0"/>
                      </a:moveTo>
                      <a:cubicBezTo>
                        <a:pt x="1347693" y="33963"/>
                        <a:pt x="1396511" y="61654"/>
                        <a:pt x="1392089" y="82288"/>
                      </a:cubicBezTo>
                      <a:cubicBezTo>
                        <a:pt x="1389561" y="94086"/>
                        <a:pt x="1370889" y="102738"/>
                        <a:pt x="1352660" y="112938"/>
                      </a:cubicBezTo>
                      <a:lnTo>
                        <a:pt x="63968" y="203052"/>
                      </a:lnTo>
                      <a:cubicBezTo>
                        <a:pt x="68944" y="198570"/>
                        <a:pt x="71031" y="193484"/>
                        <a:pt x="71289" y="188968"/>
                      </a:cubicBezTo>
                      <a:cubicBezTo>
                        <a:pt x="72982" y="159335"/>
                        <a:pt x="-4064" y="145788"/>
                        <a:pt x="169" y="112768"/>
                      </a:cubicBezTo>
                      <a:lnTo>
                        <a:pt x="10766" y="9219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63" name="Freeform 62"/>
                <p:cNvSpPr/>
                <p:nvPr/>
              </p:nvSpPr>
              <p:spPr>
                <a:xfrm>
                  <a:off x="4080889" y="5208287"/>
                  <a:ext cx="979841" cy="141561"/>
                </a:xfrm>
                <a:custGeom>
                  <a:avLst/>
                  <a:gdLst/>
                  <a:ahLst/>
                  <a:cxnLst/>
                  <a:rect l="l" t="t" r="r" b="b"/>
                  <a:pathLst>
                    <a:path w="1402254" h="202589">
                      <a:moveTo>
                        <a:pt x="1327165" y="0"/>
                      </a:moveTo>
                      <a:cubicBezTo>
                        <a:pt x="1345502" y="29113"/>
                        <a:pt x="1402254" y="67305"/>
                        <a:pt x="1402254" y="85604"/>
                      </a:cubicBezTo>
                      <a:cubicBezTo>
                        <a:pt x="1402254" y="94165"/>
                        <a:pt x="1389065" y="102342"/>
                        <a:pt x="1373510" y="111338"/>
                      </a:cubicBezTo>
                      <a:lnTo>
                        <a:pt x="68561" y="202589"/>
                      </a:lnTo>
                      <a:cubicBezTo>
                        <a:pt x="60713" y="175951"/>
                        <a:pt x="-3772" y="139763"/>
                        <a:pt x="174" y="116084"/>
                      </a:cubicBezTo>
                      <a:cubicBezTo>
                        <a:pt x="1332" y="109136"/>
                        <a:pt x="7527" y="100699"/>
                        <a:pt x="16039" y="91683"/>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64" name="Freeform 63"/>
                <p:cNvSpPr/>
                <p:nvPr/>
              </p:nvSpPr>
              <p:spPr>
                <a:xfrm>
                  <a:off x="4336590" y="5852030"/>
                  <a:ext cx="470337" cy="95190"/>
                </a:xfrm>
                <a:custGeom>
                  <a:avLst/>
                  <a:gdLst>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325"/>
                    <a:gd name="connsiteX1" fmla="*/ 241300 w 673100"/>
                    <a:gd name="connsiteY1" fmla="*/ 121920 h 127325"/>
                    <a:gd name="connsiteX2" fmla="*/ 434340 w 673100"/>
                    <a:gd name="connsiteY2" fmla="*/ 127000 h 127325"/>
                    <a:gd name="connsiteX3" fmla="*/ 673100 w 673100"/>
                    <a:gd name="connsiteY3" fmla="*/ 0 h 127325"/>
                    <a:gd name="connsiteX4" fmla="*/ 0 w 673100"/>
                    <a:gd name="connsiteY4" fmla="*/ 5080 h 127325"/>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4622"/>
                    <a:gd name="connsiteX1" fmla="*/ 241300 w 673100"/>
                    <a:gd name="connsiteY1" fmla="*/ 121920 h 134622"/>
                    <a:gd name="connsiteX2" fmla="*/ 434340 w 673100"/>
                    <a:gd name="connsiteY2" fmla="*/ 127000 h 134622"/>
                    <a:gd name="connsiteX3" fmla="*/ 673100 w 673100"/>
                    <a:gd name="connsiteY3" fmla="*/ 0 h 134622"/>
                    <a:gd name="connsiteX4" fmla="*/ 0 w 673100"/>
                    <a:gd name="connsiteY4" fmla="*/ 5080 h 134622"/>
                    <a:gd name="connsiteX0" fmla="*/ 0 w 673100"/>
                    <a:gd name="connsiteY0" fmla="*/ 5080 h 136227"/>
                    <a:gd name="connsiteX1" fmla="*/ 241300 w 673100"/>
                    <a:gd name="connsiteY1" fmla="*/ 121920 h 136227"/>
                    <a:gd name="connsiteX2" fmla="*/ 434340 w 673100"/>
                    <a:gd name="connsiteY2" fmla="*/ 127000 h 136227"/>
                    <a:gd name="connsiteX3" fmla="*/ 673100 w 673100"/>
                    <a:gd name="connsiteY3" fmla="*/ 0 h 136227"/>
                    <a:gd name="connsiteX4" fmla="*/ 0 w 673100"/>
                    <a:gd name="connsiteY4" fmla="*/ 5080 h 136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00" h="136227">
                      <a:moveTo>
                        <a:pt x="0" y="5080"/>
                      </a:moveTo>
                      <a:cubicBezTo>
                        <a:pt x="423" y="32597"/>
                        <a:pt x="226483" y="106892"/>
                        <a:pt x="241300" y="121920"/>
                      </a:cubicBezTo>
                      <a:cubicBezTo>
                        <a:pt x="256117" y="136948"/>
                        <a:pt x="421428" y="142452"/>
                        <a:pt x="434340" y="127000"/>
                      </a:cubicBezTo>
                      <a:cubicBezTo>
                        <a:pt x="447252" y="111548"/>
                        <a:pt x="671618" y="23283"/>
                        <a:pt x="673100" y="0"/>
                      </a:cubicBezTo>
                      <a:lnTo>
                        <a:pt x="0" y="508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58" name="Oval 57"/>
              <p:cNvSpPr/>
              <p:nvPr/>
            </p:nvSpPr>
            <p:spPr>
              <a:xfrm rot="19080000" flipH="1">
                <a:off x="3521505" y="2435407"/>
                <a:ext cx="890063" cy="265634"/>
              </a:xfrm>
              <a:prstGeom prst="ellipse">
                <a:avLst/>
              </a:prstGeom>
              <a:gradFill flip="none" rotWithShape="1">
                <a:gsLst>
                  <a:gs pos="28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54" name="Oval 53"/>
            <p:cNvSpPr/>
            <p:nvPr/>
          </p:nvSpPr>
          <p:spPr>
            <a:xfrm>
              <a:off x="6247117" y="2512770"/>
              <a:ext cx="1162056" cy="1079812"/>
            </a:xfrm>
            <a:prstGeom prst="ellipse">
              <a:avLst/>
            </a:prstGeom>
            <a:gradFill flip="none" rotWithShape="1">
              <a:gsLst>
                <a:gs pos="32000">
                  <a:srgbClr val="00B0F0"/>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ysClr val="window" lastClr="FFFFFF"/>
                </a:solidFill>
                <a:latin typeface="Arial" panose="020B0604020202020204" pitchFamily="34" charset="0"/>
                <a:cs typeface="Arial" panose="020B0604020202020204" pitchFamily="34" charset="0"/>
              </a:endParaRPr>
            </a:p>
          </p:txBody>
        </p:sp>
      </p:grpSp>
      <p:grpSp>
        <p:nvGrpSpPr>
          <p:cNvPr id="74" name="Group 73"/>
          <p:cNvGrpSpPr/>
          <p:nvPr userDrawn="1"/>
        </p:nvGrpSpPr>
        <p:grpSpPr>
          <a:xfrm rot="17057516">
            <a:off x="5740862" y="2271540"/>
            <a:ext cx="588708" cy="1040024"/>
            <a:chOff x="5869118" y="1864852"/>
            <a:chExt cx="1875650" cy="3313563"/>
          </a:xfrm>
        </p:grpSpPr>
        <p:grpSp>
          <p:nvGrpSpPr>
            <p:cNvPr id="75" name="Group 74"/>
            <p:cNvGrpSpPr/>
            <p:nvPr/>
          </p:nvGrpSpPr>
          <p:grpSpPr>
            <a:xfrm>
              <a:off x="5869118" y="1864852"/>
              <a:ext cx="1875650" cy="3313563"/>
              <a:chOff x="3509193" y="2208611"/>
              <a:chExt cx="2116248" cy="3738609"/>
            </a:xfrm>
          </p:grpSpPr>
          <p:sp>
            <p:nvSpPr>
              <p:cNvPr id="77" name="Freeform 76"/>
              <p:cNvSpPr/>
              <p:nvPr/>
            </p:nvSpPr>
            <p:spPr>
              <a:xfrm>
                <a:off x="3509193" y="2208611"/>
                <a:ext cx="2116248" cy="2832368"/>
              </a:xfrm>
              <a:custGeom>
                <a:avLst/>
                <a:gdLst>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88" h="1692915">
                    <a:moveTo>
                      <a:pt x="632444" y="0"/>
                    </a:moveTo>
                    <a:cubicBezTo>
                      <a:pt x="981735" y="7"/>
                      <a:pt x="1264888" y="283165"/>
                      <a:pt x="1264888" y="632458"/>
                    </a:cubicBezTo>
                    <a:cubicBezTo>
                      <a:pt x="1264888" y="722053"/>
                      <a:pt x="1243620" y="800469"/>
                      <a:pt x="1212119" y="884292"/>
                    </a:cubicBezTo>
                    <a:cubicBezTo>
                      <a:pt x="1180618" y="968115"/>
                      <a:pt x="1050676" y="1160843"/>
                      <a:pt x="1026175" y="1272920"/>
                    </a:cubicBezTo>
                    <a:cubicBezTo>
                      <a:pt x="1001674" y="1384997"/>
                      <a:pt x="991603" y="1515490"/>
                      <a:pt x="972341" y="1634870"/>
                    </a:cubicBezTo>
                    <a:cubicBezTo>
                      <a:pt x="968177" y="1660679"/>
                      <a:pt x="924730" y="1693412"/>
                      <a:pt x="888132" y="1692910"/>
                    </a:cubicBezTo>
                    <a:cubicBezTo>
                      <a:pt x="851534" y="1692408"/>
                      <a:pt x="429358" y="1692412"/>
                      <a:pt x="376023" y="1692910"/>
                    </a:cubicBezTo>
                    <a:cubicBezTo>
                      <a:pt x="322688" y="1693408"/>
                      <a:pt x="296690" y="1660741"/>
                      <a:pt x="292547" y="1635064"/>
                    </a:cubicBezTo>
                    <a:cubicBezTo>
                      <a:pt x="273285" y="1515684"/>
                      <a:pt x="263214" y="1385191"/>
                      <a:pt x="238713" y="1273114"/>
                    </a:cubicBezTo>
                    <a:cubicBezTo>
                      <a:pt x="214212" y="1161037"/>
                      <a:pt x="84270" y="968309"/>
                      <a:pt x="52769" y="884486"/>
                    </a:cubicBezTo>
                    <a:cubicBezTo>
                      <a:pt x="21268" y="800663"/>
                      <a:pt x="0" y="722247"/>
                      <a:pt x="0" y="632652"/>
                    </a:cubicBezTo>
                    <a:cubicBezTo>
                      <a:pt x="0" y="283359"/>
                      <a:pt x="283153" y="201"/>
                      <a:pt x="632444" y="194"/>
                    </a:cubicBezTo>
                    <a:lnTo>
                      <a:pt x="632444" y="0"/>
                    </a:lnTo>
                    <a:close/>
                  </a:path>
                </a:pathLst>
              </a:custGeom>
              <a:solidFill>
                <a:srgbClr val="00B0F0">
                  <a:alpha val="20000"/>
                </a:srgbClr>
              </a:solidFill>
              <a:ln>
                <a:noFill/>
              </a:ln>
              <a:effectLst/>
              <a:scene3d>
                <a:camera prst="orthographicFront">
                  <a:rot lat="0" lon="0" rev="0"/>
                </a:camera>
                <a:lightRig rig="twoPt" dir="t">
                  <a:rot lat="0" lon="0" rev="0"/>
                </a:lightRig>
              </a:scene3d>
              <a:sp3d prstMaterial="clear">
                <a:bevelT w="317500" h="1905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nvGrpSpPr>
              <p:cNvPr id="78" name="Group 77"/>
              <p:cNvGrpSpPr/>
              <p:nvPr/>
            </p:nvGrpSpPr>
            <p:grpSpPr>
              <a:xfrm>
                <a:off x="4221220" y="3554960"/>
                <a:ext cx="700181" cy="1502973"/>
                <a:chOff x="6480420" y="3161623"/>
                <a:chExt cx="813818" cy="1746901"/>
              </a:xfrm>
            </p:grpSpPr>
            <p:sp>
              <p:nvSpPr>
                <p:cNvPr id="87" name="Freeform 86"/>
                <p:cNvSpPr/>
                <p:nvPr/>
              </p:nvSpPr>
              <p:spPr>
                <a:xfrm>
                  <a:off x="6747926" y="4123689"/>
                  <a:ext cx="27850" cy="772043"/>
                </a:xfrm>
                <a:custGeom>
                  <a:avLst/>
                  <a:gdLst>
                    <a:gd name="connsiteX0" fmla="*/ 0 w 34290"/>
                    <a:gd name="connsiteY0" fmla="*/ 0 h 950595"/>
                    <a:gd name="connsiteX1" fmla="*/ 34290 w 34290"/>
                    <a:gd name="connsiteY1" fmla="*/ 950595 h 950595"/>
                  </a:gdLst>
                  <a:ahLst/>
                  <a:cxnLst>
                    <a:cxn ang="0">
                      <a:pos x="connsiteX0" y="connsiteY0"/>
                    </a:cxn>
                    <a:cxn ang="0">
                      <a:pos x="connsiteX1" y="connsiteY1"/>
                    </a:cxn>
                  </a:cxnLst>
                  <a:rect l="l" t="t" r="r" b="b"/>
                  <a:pathLst>
                    <a:path w="34290" h="950595">
                      <a:moveTo>
                        <a:pt x="0" y="0"/>
                      </a:moveTo>
                      <a:lnTo>
                        <a:pt x="34290" y="950595"/>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88" name="Freeform 87"/>
                <p:cNvSpPr/>
                <p:nvPr/>
              </p:nvSpPr>
              <p:spPr>
                <a:xfrm>
                  <a:off x="7003162" y="4123690"/>
                  <a:ext cx="21660" cy="770496"/>
                </a:xfrm>
                <a:custGeom>
                  <a:avLst/>
                  <a:gdLst>
                    <a:gd name="connsiteX0" fmla="*/ 26670 w 26670"/>
                    <a:gd name="connsiteY0" fmla="*/ 0 h 948690"/>
                    <a:gd name="connsiteX1" fmla="*/ 0 w 26670"/>
                    <a:gd name="connsiteY1" fmla="*/ 948690 h 948690"/>
                  </a:gdLst>
                  <a:ahLst/>
                  <a:cxnLst>
                    <a:cxn ang="0">
                      <a:pos x="connsiteX0" y="connsiteY0"/>
                    </a:cxn>
                    <a:cxn ang="0">
                      <a:pos x="connsiteX1" y="connsiteY1"/>
                    </a:cxn>
                  </a:cxnLst>
                  <a:rect l="l" t="t" r="r" b="b"/>
                  <a:pathLst>
                    <a:path w="26670" h="948690">
                      <a:moveTo>
                        <a:pt x="26670" y="0"/>
                      </a:moveTo>
                      <a:lnTo>
                        <a:pt x="0" y="948690"/>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89" name="Freeform 88"/>
                <p:cNvSpPr/>
                <p:nvPr/>
              </p:nvSpPr>
              <p:spPr>
                <a:xfrm>
                  <a:off x="6672271" y="3166397"/>
                  <a:ext cx="120681" cy="521400"/>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123 w 148713"/>
                    <a:gd name="connsiteY0" fmla="*/ 0 h 641985"/>
                    <a:gd name="connsiteX1" fmla="*/ 3933 w 148713"/>
                    <a:gd name="connsiteY1" fmla="*/ 110490 h 641985"/>
                    <a:gd name="connsiteX2" fmla="*/ 34413 w 148713"/>
                    <a:gd name="connsiteY2" fmla="*/ 129540 h 641985"/>
                    <a:gd name="connsiteX3" fmla="*/ 57273 w 148713"/>
                    <a:gd name="connsiteY3" fmla="*/ 87630 h 641985"/>
                    <a:gd name="connsiteX4" fmla="*/ 30603 w 148713"/>
                    <a:gd name="connsiteY4" fmla="*/ 57150 h 641985"/>
                    <a:gd name="connsiteX5" fmla="*/ 15363 w 148713"/>
                    <a:gd name="connsiteY5" fmla="*/ 144780 h 641985"/>
                    <a:gd name="connsiteX6" fmla="*/ 148713 w 148713"/>
                    <a:gd name="connsiteY6" fmla="*/ 641985 h 641985"/>
                    <a:gd name="connsiteX0" fmla="*/ 0 w 148590"/>
                    <a:gd name="connsiteY0" fmla="*/ 0 h 641985"/>
                    <a:gd name="connsiteX1" fmla="*/ 3810 w 148590"/>
                    <a:gd name="connsiteY1" fmla="*/ 110490 h 641985"/>
                    <a:gd name="connsiteX2" fmla="*/ 34290 w 148590"/>
                    <a:gd name="connsiteY2" fmla="*/ 129540 h 641985"/>
                    <a:gd name="connsiteX3" fmla="*/ 57150 w 148590"/>
                    <a:gd name="connsiteY3" fmla="*/ 87630 h 641985"/>
                    <a:gd name="connsiteX4" fmla="*/ 30480 w 148590"/>
                    <a:gd name="connsiteY4" fmla="*/ 57150 h 641985"/>
                    <a:gd name="connsiteX5" fmla="*/ 15240 w 148590"/>
                    <a:gd name="connsiteY5" fmla="*/ 144780 h 641985"/>
                    <a:gd name="connsiteX6" fmla="*/ 148590 w 148590"/>
                    <a:gd name="connsiteY6" fmla="*/ 641985 h 64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 h="641985">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931" y="57677"/>
                        <a:pt x="30480" y="57150"/>
                      </a:cubicBezTo>
                      <a:cubicBezTo>
                        <a:pt x="8255" y="56515"/>
                        <a:pt x="-4445" y="47308"/>
                        <a:pt x="15240" y="144780"/>
                      </a:cubicBezTo>
                      <a:cubicBezTo>
                        <a:pt x="34925" y="242253"/>
                        <a:pt x="104140" y="467995"/>
                        <a:pt x="148590" y="641985"/>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90" name="Freeform 89"/>
                <p:cNvSpPr/>
                <p:nvPr/>
              </p:nvSpPr>
              <p:spPr>
                <a:xfrm rot="21360000" flipH="1">
                  <a:off x="6946994" y="3161623"/>
                  <a:ext cx="116190" cy="521665"/>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061" h="642311">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877" y="55639"/>
                        <a:pt x="30480" y="57150"/>
                      </a:cubicBezTo>
                      <a:cubicBezTo>
                        <a:pt x="6441" y="59125"/>
                        <a:pt x="-3523" y="47253"/>
                        <a:pt x="15240" y="144780"/>
                      </a:cubicBezTo>
                      <a:cubicBezTo>
                        <a:pt x="34003" y="242307"/>
                        <a:pt x="98611" y="468321"/>
                        <a:pt x="143061" y="642311"/>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91" name="Freeform 90"/>
                <p:cNvSpPr/>
                <p:nvPr/>
              </p:nvSpPr>
              <p:spPr>
                <a:xfrm>
                  <a:off x="6480420" y="3237725"/>
                  <a:ext cx="812786" cy="82516"/>
                </a:xfrm>
                <a:custGeom>
                  <a:avLst/>
                  <a:gdLst>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1000760" h="101600">
                      <a:moveTo>
                        <a:pt x="0" y="86360"/>
                      </a:moveTo>
                      <a:cubicBezTo>
                        <a:pt x="143087" y="92287"/>
                        <a:pt x="174413" y="55033"/>
                        <a:pt x="261620" y="5080"/>
                      </a:cubicBezTo>
                      <a:cubicBezTo>
                        <a:pt x="395393" y="33867"/>
                        <a:pt x="516467" y="37253"/>
                        <a:pt x="662940" y="0"/>
                      </a:cubicBezTo>
                      <a:cubicBezTo>
                        <a:pt x="813647" y="69427"/>
                        <a:pt x="865293" y="90593"/>
                        <a:pt x="1000760" y="101600"/>
                      </a:cubicBezTo>
                    </a:path>
                  </a:pathLst>
                </a:custGeom>
                <a:noFill/>
                <a:ln w="19050" cap="rnd" cmpd="sng">
                  <a:solidFill>
                    <a:schemeClr val="tx1">
                      <a:lumMod val="50000"/>
                      <a:lumOff val="50000"/>
                    </a:schemeClr>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92" name="Freeform 91"/>
                <p:cNvSpPr/>
                <p:nvPr/>
              </p:nvSpPr>
              <p:spPr>
                <a:xfrm flipH="1">
                  <a:off x="6678460" y="3749170"/>
                  <a:ext cx="412581" cy="1159354"/>
                </a:xfrm>
                <a:custGeom>
                  <a:avLst/>
                  <a:gdLst/>
                  <a:ahLst/>
                  <a:cxnLst/>
                  <a:rect l="l" t="t" r="r" b="b"/>
                  <a:pathLst>
                    <a:path w="508000" h="1427480">
                      <a:moveTo>
                        <a:pt x="254000" y="647700"/>
                      </a:moveTo>
                      <a:cubicBezTo>
                        <a:pt x="294681" y="647700"/>
                        <a:pt x="327660" y="680679"/>
                        <a:pt x="327660" y="721360"/>
                      </a:cubicBezTo>
                      <a:cubicBezTo>
                        <a:pt x="327660" y="762041"/>
                        <a:pt x="294681" y="795020"/>
                        <a:pt x="254000" y="795020"/>
                      </a:cubicBezTo>
                      <a:cubicBezTo>
                        <a:pt x="213319" y="795020"/>
                        <a:pt x="180340" y="762041"/>
                        <a:pt x="180340" y="721360"/>
                      </a:cubicBezTo>
                      <a:cubicBezTo>
                        <a:pt x="180340" y="680679"/>
                        <a:pt x="213319" y="647700"/>
                        <a:pt x="254000" y="647700"/>
                      </a:cubicBezTo>
                      <a:close/>
                      <a:moveTo>
                        <a:pt x="325120" y="0"/>
                      </a:moveTo>
                      <a:lnTo>
                        <a:pt x="254000" y="2453"/>
                      </a:lnTo>
                      <a:lnTo>
                        <a:pt x="182880" y="0"/>
                      </a:lnTo>
                      <a:lnTo>
                        <a:pt x="182880" y="375920"/>
                      </a:lnTo>
                      <a:cubicBezTo>
                        <a:pt x="178647" y="395393"/>
                        <a:pt x="191135" y="416348"/>
                        <a:pt x="170180" y="434340"/>
                      </a:cubicBezTo>
                      <a:cubicBezTo>
                        <a:pt x="149225" y="452332"/>
                        <a:pt x="11007" y="447040"/>
                        <a:pt x="10160" y="551180"/>
                      </a:cubicBezTo>
                      <a:cubicBezTo>
                        <a:pt x="9313" y="655320"/>
                        <a:pt x="53975" y="768138"/>
                        <a:pt x="53340" y="817880"/>
                      </a:cubicBezTo>
                      <a:cubicBezTo>
                        <a:pt x="52705" y="867622"/>
                        <a:pt x="0" y="937472"/>
                        <a:pt x="0" y="995680"/>
                      </a:cubicBezTo>
                      <a:lnTo>
                        <a:pt x="0" y="1427480"/>
                      </a:lnTo>
                      <a:lnTo>
                        <a:pt x="254000" y="1427480"/>
                      </a:lnTo>
                      <a:lnTo>
                        <a:pt x="508000" y="1427480"/>
                      </a:lnTo>
                      <a:lnTo>
                        <a:pt x="508000" y="995680"/>
                      </a:lnTo>
                      <a:cubicBezTo>
                        <a:pt x="508000" y="937472"/>
                        <a:pt x="455295" y="867622"/>
                        <a:pt x="454660" y="817880"/>
                      </a:cubicBezTo>
                      <a:cubicBezTo>
                        <a:pt x="454025" y="768138"/>
                        <a:pt x="498687" y="655320"/>
                        <a:pt x="497840" y="551180"/>
                      </a:cubicBezTo>
                      <a:cubicBezTo>
                        <a:pt x="496993" y="447040"/>
                        <a:pt x="358775" y="452332"/>
                        <a:pt x="337820" y="434340"/>
                      </a:cubicBezTo>
                      <a:cubicBezTo>
                        <a:pt x="316865" y="416348"/>
                        <a:pt x="329353" y="395393"/>
                        <a:pt x="325120" y="375920"/>
                      </a:cubicBezTo>
                      <a:close/>
                    </a:path>
                  </a:pathLst>
                </a:custGeom>
                <a:solidFill>
                  <a:schemeClr val="bg1">
                    <a:alpha val="20000"/>
                  </a:schemeClr>
                </a:solidFill>
                <a:ln>
                  <a:noFill/>
                </a:ln>
                <a:effectLst/>
                <a:scene3d>
                  <a:camera prst="orthographicFront">
                    <a:rot lat="0" lon="0" rev="0"/>
                  </a:camera>
                  <a:lightRig rig="chilly" dir="t"/>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93" name="Freeform 92"/>
                <p:cNvSpPr/>
                <p:nvPr/>
              </p:nvSpPr>
              <p:spPr>
                <a:xfrm>
                  <a:off x="6480420"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94" name="Freeform 93"/>
                <p:cNvSpPr/>
                <p:nvPr/>
              </p:nvSpPr>
              <p:spPr>
                <a:xfrm flipH="1">
                  <a:off x="7028123"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95" name="Rounded Rectangle 94"/>
                <p:cNvSpPr/>
                <p:nvPr/>
              </p:nvSpPr>
              <p:spPr>
                <a:xfrm>
                  <a:off x="6771291" y="3686870"/>
                  <a:ext cx="222795" cy="61888"/>
                </a:xfrm>
                <a:prstGeom prst="roundRect">
                  <a:avLst>
                    <a:gd name="adj" fmla="val 50000"/>
                  </a:avLst>
                </a:prstGeom>
                <a:solidFill>
                  <a:schemeClr val="bg1">
                    <a:alpha val="2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grpSp>
            <p:nvGrpSpPr>
              <p:cNvPr id="79" name="Group 78"/>
              <p:cNvGrpSpPr/>
              <p:nvPr/>
            </p:nvGrpSpPr>
            <p:grpSpPr>
              <a:xfrm>
                <a:off x="4077456" y="5030272"/>
                <a:ext cx="983340" cy="916948"/>
                <a:chOff x="4077456" y="5030272"/>
                <a:chExt cx="983340" cy="916948"/>
              </a:xfrm>
            </p:grpSpPr>
            <p:sp>
              <p:nvSpPr>
                <p:cNvPr id="81" name="Freeform 80"/>
                <p:cNvSpPr/>
                <p:nvPr/>
              </p:nvSpPr>
              <p:spPr>
                <a:xfrm>
                  <a:off x="4077456" y="5030272"/>
                  <a:ext cx="983340" cy="827082"/>
                </a:xfrm>
                <a:custGeom>
                  <a:avLst/>
                  <a:gdLst>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303"/>
                    <a:gd name="connsiteY0" fmla="*/ 0 h 1183640"/>
                    <a:gd name="connsiteX1" fmla="*/ 1402080 w 1407303"/>
                    <a:gd name="connsiteY1" fmla="*/ 177800 h 1183640"/>
                    <a:gd name="connsiteX2" fmla="*/ 1325880 w 1407303"/>
                    <a:gd name="connsiteY2" fmla="*/ 238760 h 1183640"/>
                    <a:gd name="connsiteX3" fmla="*/ 1407160 w 1407303"/>
                    <a:gd name="connsiteY3" fmla="*/ 340360 h 1183640"/>
                    <a:gd name="connsiteX4" fmla="*/ 1330960 w 1407303"/>
                    <a:gd name="connsiteY4" fmla="*/ 421640 h 1183640"/>
                    <a:gd name="connsiteX5" fmla="*/ 1402080 w 1407303"/>
                    <a:gd name="connsiteY5" fmla="*/ 518160 h 1183640"/>
                    <a:gd name="connsiteX6" fmla="*/ 1325880 w 1407303"/>
                    <a:gd name="connsiteY6" fmla="*/ 589280 h 1183640"/>
                    <a:gd name="connsiteX7" fmla="*/ 1407160 w 1407303"/>
                    <a:gd name="connsiteY7" fmla="*/ 690880 h 1183640"/>
                    <a:gd name="connsiteX8" fmla="*/ 1325880 w 1407303"/>
                    <a:gd name="connsiteY8" fmla="*/ 772160 h 1183640"/>
                    <a:gd name="connsiteX9" fmla="*/ 1407160 w 1407303"/>
                    <a:gd name="connsiteY9" fmla="*/ 863600 h 1183640"/>
                    <a:gd name="connsiteX10" fmla="*/ 1366520 w 1407303"/>
                    <a:gd name="connsiteY10" fmla="*/ 980440 h 1183640"/>
                    <a:gd name="connsiteX11" fmla="*/ 1036320 w 1407303"/>
                    <a:gd name="connsiteY11" fmla="*/ 1178560 h 1183640"/>
                    <a:gd name="connsiteX12" fmla="*/ 381000 w 1407303"/>
                    <a:gd name="connsiteY12" fmla="*/ 1183640 h 1183640"/>
                    <a:gd name="connsiteX13" fmla="*/ 15240 w 1407303"/>
                    <a:gd name="connsiteY13" fmla="*/ 899160 h 1183640"/>
                    <a:gd name="connsiteX14" fmla="*/ 71120 w 1407303"/>
                    <a:gd name="connsiteY14" fmla="*/ 812800 h 1183640"/>
                    <a:gd name="connsiteX15" fmla="*/ 0 w 1407303"/>
                    <a:gd name="connsiteY15" fmla="*/ 736600 h 1183640"/>
                    <a:gd name="connsiteX16" fmla="*/ 81280 w 1407303"/>
                    <a:gd name="connsiteY16" fmla="*/ 624840 h 1183640"/>
                    <a:gd name="connsiteX17" fmla="*/ 10160 w 1407303"/>
                    <a:gd name="connsiteY17" fmla="*/ 548640 h 1183640"/>
                    <a:gd name="connsiteX18" fmla="*/ 76200 w 1407303"/>
                    <a:gd name="connsiteY18" fmla="*/ 462280 h 1183640"/>
                    <a:gd name="connsiteX19" fmla="*/ 5080 w 1407303"/>
                    <a:gd name="connsiteY19" fmla="*/ 370840 h 1183640"/>
                    <a:gd name="connsiteX20" fmla="*/ 81280 w 1407303"/>
                    <a:gd name="connsiteY20" fmla="*/ 274320 h 1183640"/>
                    <a:gd name="connsiteX21" fmla="*/ 15240 w 1407303"/>
                    <a:gd name="connsiteY21" fmla="*/ 218440 h 1183640"/>
                    <a:gd name="connsiteX22" fmla="*/ 5080 w 1407303"/>
                    <a:gd name="connsiteY22" fmla="*/ 5080 h 1183640"/>
                    <a:gd name="connsiteX23" fmla="*/ 1402080 w 1407303"/>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9 w 1407263"/>
                    <a:gd name="connsiteY0" fmla="*/ 0 h 1183640"/>
                    <a:gd name="connsiteX1" fmla="*/ 1402089 w 1407263"/>
                    <a:gd name="connsiteY1" fmla="*/ 177800 h 1183640"/>
                    <a:gd name="connsiteX2" fmla="*/ 1325889 w 1407263"/>
                    <a:gd name="connsiteY2" fmla="*/ 238760 h 1183640"/>
                    <a:gd name="connsiteX3" fmla="*/ 1407169 w 1407263"/>
                    <a:gd name="connsiteY3" fmla="*/ 340360 h 1183640"/>
                    <a:gd name="connsiteX4" fmla="*/ 1330969 w 1407263"/>
                    <a:gd name="connsiteY4" fmla="*/ 421640 h 1183640"/>
                    <a:gd name="connsiteX5" fmla="*/ 1402089 w 1407263"/>
                    <a:gd name="connsiteY5" fmla="*/ 518160 h 1183640"/>
                    <a:gd name="connsiteX6" fmla="*/ 1325889 w 1407263"/>
                    <a:gd name="connsiteY6" fmla="*/ 589280 h 1183640"/>
                    <a:gd name="connsiteX7" fmla="*/ 1407169 w 1407263"/>
                    <a:gd name="connsiteY7" fmla="*/ 690880 h 1183640"/>
                    <a:gd name="connsiteX8" fmla="*/ 1325889 w 1407263"/>
                    <a:gd name="connsiteY8" fmla="*/ 772160 h 1183640"/>
                    <a:gd name="connsiteX9" fmla="*/ 1407169 w 1407263"/>
                    <a:gd name="connsiteY9" fmla="*/ 863600 h 1183640"/>
                    <a:gd name="connsiteX10" fmla="*/ 1366529 w 1407263"/>
                    <a:gd name="connsiteY10" fmla="*/ 980440 h 1183640"/>
                    <a:gd name="connsiteX11" fmla="*/ 1036329 w 1407263"/>
                    <a:gd name="connsiteY11" fmla="*/ 1178560 h 1183640"/>
                    <a:gd name="connsiteX12" fmla="*/ 381009 w 1407263"/>
                    <a:gd name="connsiteY12" fmla="*/ 1183640 h 1183640"/>
                    <a:gd name="connsiteX13" fmla="*/ 15249 w 1407263"/>
                    <a:gd name="connsiteY13" fmla="*/ 899160 h 1183640"/>
                    <a:gd name="connsiteX14" fmla="*/ 71129 w 1407263"/>
                    <a:gd name="connsiteY14" fmla="*/ 812800 h 1183640"/>
                    <a:gd name="connsiteX15" fmla="*/ 9 w 1407263"/>
                    <a:gd name="connsiteY15" fmla="*/ 736600 h 1183640"/>
                    <a:gd name="connsiteX16" fmla="*/ 81289 w 1407263"/>
                    <a:gd name="connsiteY16" fmla="*/ 624840 h 1183640"/>
                    <a:gd name="connsiteX17" fmla="*/ 10169 w 1407263"/>
                    <a:gd name="connsiteY17" fmla="*/ 548640 h 1183640"/>
                    <a:gd name="connsiteX18" fmla="*/ 76209 w 1407263"/>
                    <a:gd name="connsiteY18" fmla="*/ 462280 h 1183640"/>
                    <a:gd name="connsiteX19" fmla="*/ 5089 w 1407263"/>
                    <a:gd name="connsiteY19" fmla="*/ 370840 h 1183640"/>
                    <a:gd name="connsiteX20" fmla="*/ 81289 w 1407263"/>
                    <a:gd name="connsiteY20" fmla="*/ 274320 h 1183640"/>
                    <a:gd name="connsiteX21" fmla="*/ 15249 w 1407263"/>
                    <a:gd name="connsiteY21" fmla="*/ 218440 h 1183640"/>
                    <a:gd name="connsiteX22" fmla="*/ 5089 w 1407263"/>
                    <a:gd name="connsiteY22" fmla="*/ 5080 h 1183640"/>
                    <a:gd name="connsiteX23" fmla="*/ 1402089 w 1407263"/>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7627 w 1407261"/>
                    <a:gd name="connsiteY21" fmla="*/ 215900 h 1183640"/>
                    <a:gd name="connsiteX22" fmla="*/ 5087 w 1407261"/>
                    <a:gd name="connsiteY22" fmla="*/ 5080 h 1183640"/>
                    <a:gd name="connsiteX23" fmla="*/ 1402087 w 1407261"/>
                    <a:gd name="connsiteY23" fmla="*/ 0 h 118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07261" h="1183640">
                      <a:moveTo>
                        <a:pt x="1402087" y="0"/>
                      </a:moveTo>
                      <a:lnTo>
                        <a:pt x="1402087" y="177800"/>
                      </a:lnTo>
                      <a:cubicBezTo>
                        <a:pt x="1376687" y="198120"/>
                        <a:pt x="1326734" y="209973"/>
                        <a:pt x="1325887" y="238760"/>
                      </a:cubicBezTo>
                      <a:cubicBezTo>
                        <a:pt x="1325040" y="267547"/>
                        <a:pt x="1407167" y="318347"/>
                        <a:pt x="1407167" y="340360"/>
                      </a:cubicBezTo>
                      <a:cubicBezTo>
                        <a:pt x="1407167" y="362373"/>
                        <a:pt x="1319960" y="381847"/>
                        <a:pt x="1330967" y="421640"/>
                      </a:cubicBezTo>
                      <a:cubicBezTo>
                        <a:pt x="1341974" y="461433"/>
                        <a:pt x="1407167" y="494453"/>
                        <a:pt x="1402087" y="518160"/>
                      </a:cubicBezTo>
                      <a:cubicBezTo>
                        <a:pt x="1397007" y="541867"/>
                        <a:pt x="1326734" y="552873"/>
                        <a:pt x="1325887" y="589280"/>
                      </a:cubicBezTo>
                      <a:cubicBezTo>
                        <a:pt x="1325040" y="625687"/>
                        <a:pt x="1403780" y="658707"/>
                        <a:pt x="1407167" y="690880"/>
                      </a:cubicBezTo>
                      <a:cubicBezTo>
                        <a:pt x="1410554" y="723053"/>
                        <a:pt x="1321654" y="736600"/>
                        <a:pt x="1325887" y="772160"/>
                      </a:cubicBezTo>
                      <a:cubicBezTo>
                        <a:pt x="1330120" y="807720"/>
                        <a:pt x="1380074" y="833120"/>
                        <a:pt x="1407167" y="863600"/>
                      </a:cubicBezTo>
                      <a:cubicBezTo>
                        <a:pt x="1393620" y="902547"/>
                        <a:pt x="1390234" y="944880"/>
                        <a:pt x="1366527" y="980440"/>
                      </a:cubicBezTo>
                      <a:cubicBezTo>
                        <a:pt x="1342820" y="1016000"/>
                        <a:pt x="1100674" y="1145540"/>
                        <a:pt x="1036327" y="1178560"/>
                      </a:cubicBezTo>
                      <a:lnTo>
                        <a:pt x="381007" y="1183640"/>
                      </a:lnTo>
                      <a:cubicBezTo>
                        <a:pt x="200667" y="1098973"/>
                        <a:pt x="25407" y="996527"/>
                        <a:pt x="15247" y="899160"/>
                      </a:cubicBezTo>
                      <a:cubicBezTo>
                        <a:pt x="33874" y="870373"/>
                        <a:pt x="75360" y="836507"/>
                        <a:pt x="71127" y="812800"/>
                      </a:cubicBezTo>
                      <a:cubicBezTo>
                        <a:pt x="66894" y="789093"/>
                        <a:pt x="854" y="764540"/>
                        <a:pt x="7" y="736600"/>
                      </a:cubicBezTo>
                      <a:cubicBezTo>
                        <a:pt x="-840" y="708660"/>
                        <a:pt x="79594" y="654473"/>
                        <a:pt x="81287" y="624840"/>
                      </a:cubicBezTo>
                      <a:cubicBezTo>
                        <a:pt x="82980" y="595207"/>
                        <a:pt x="5934" y="581660"/>
                        <a:pt x="10167" y="548640"/>
                      </a:cubicBezTo>
                      <a:cubicBezTo>
                        <a:pt x="14400" y="515620"/>
                        <a:pt x="77054" y="488527"/>
                        <a:pt x="76207" y="462280"/>
                      </a:cubicBezTo>
                      <a:cubicBezTo>
                        <a:pt x="75360" y="436033"/>
                        <a:pt x="854" y="396240"/>
                        <a:pt x="5087" y="370840"/>
                      </a:cubicBezTo>
                      <a:cubicBezTo>
                        <a:pt x="9320" y="345440"/>
                        <a:pt x="80864" y="300143"/>
                        <a:pt x="81287" y="274320"/>
                      </a:cubicBezTo>
                      <a:cubicBezTo>
                        <a:pt x="81710" y="248497"/>
                        <a:pt x="29640" y="234527"/>
                        <a:pt x="7627" y="215900"/>
                      </a:cubicBezTo>
                      <a:cubicBezTo>
                        <a:pt x="6780" y="145627"/>
                        <a:pt x="5934" y="75353"/>
                        <a:pt x="5087" y="5080"/>
                      </a:cubicBezTo>
                      <a:lnTo>
                        <a:pt x="1402087" y="0"/>
                      </a:lnTo>
                      <a:close/>
                    </a:path>
                  </a:pathLst>
                </a:custGeom>
                <a:gradFill flip="none" rotWithShape="1">
                  <a:gsLst>
                    <a:gs pos="0">
                      <a:schemeClr val="bg1">
                        <a:lumMod val="30000"/>
                      </a:schemeClr>
                    </a:gs>
                    <a:gs pos="85000">
                      <a:schemeClr val="bg1">
                        <a:lumMod val="95000"/>
                      </a:schemeClr>
                    </a:gs>
                    <a:gs pos="42000">
                      <a:srgbClr val="B6B6B6">
                        <a:lumMod val="95000"/>
                      </a:srgbClr>
                    </a:gs>
                    <a:gs pos="70000">
                      <a:schemeClr val="bg1">
                        <a:lumMod val="66000"/>
                      </a:schemeClr>
                    </a:gs>
                    <a:gs pos="100000">
                      <a:schemeClr val="bg1">
                        <a:lumMod val="3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82" name="Freeform 81"/>
                <p:cNvSpPr/>
                <p:nvPr/>
              </p:nvSpPr>
              <p:spPr>
                <a:xfrm>
                  <a:off x="4088110" y="5582219"/>
                  <a:ext cx="972621" cy="141683"/>
                </a:xfrm>
                <a:custGeom>
                  <a:avLst/>
                  <a:gdLst/>
                  <a:ahLst/>
                  <a:cxnLst/>
                  <a:rect l="l" t="t" r="r" b="b"/>
                  <a:pathLst>
                    <a:path w="1391920" h="202763">
                      <a:moveTo>
                        <a:pt x="1319213" y="0"/>
                      </a:moveTo>
                      <a:cubicBezTo>
                        <a:pt x="1334296" y="26053"/>
                        <a:pt x="1370352" y="47098"/>
                        <a:pt x="1391920" y="71362"/>
                      </a:cubicBezTo>
                      <a:lnTo>
                        <a:pt x="1381165" y="110247"/>
                      </a:lnTo>
                      <a:lnTo>
                        <a:pt x="58123" y="202763"/>
                      </a:lnTo>
                      <a:cubicBezTo>
                        <a:pt x="24364" y="171244"/>
                        <a:pt x="3328" y="138811"/>
                        <a:pt x="0" y="106922"/>
                      </a:cubicBezTo>
                      <a:lnTo>
                        <a:pt x="11949" y="9141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83" name="Freeform 82"/>
                <p:cNvSpPr/>
                <p:nvPr/>
              </p:nvSpPr>
              <p:spPr>
                <a:xfrm>
                  <a:off x="4077456" y="5459198"/>
                  <a:ext cx="983340" cy="141952"/>
                </a:xfrm>
                <a:custGeom>
                  <a:avLst/>
                  <a:gdLst/>
                  <a:ahLst/>
                  <a:cxnLst/>
                  <a:rect l="l" t="t" r="r" b="b"/>
                  <a:pathLst>
                    <a:path w="1407261" h="203148">
                      <a:moveTo>
                        <a:pt x="1336797" y="0"/>
                      </a:moveTo>
                      <a:cubicBezTo>
                        <a:pt x="1357661" y="27201"/>
                        <a:pt x="1404570" y="52371"/>
                        <a:pt x="1407167" y="77042"/>
                      </a:cubicBezTo>
                      <a:cubicBezTo>
                        <a:pt x="1408668" y="91297"/>
                        <a:pt x="1392052" y="101895"/>
                        <a:pt x="1373255" y="112030"/>
                      </a:cubicBezTo>
                      <a:lnTo>
                        <a:pt x="70196" y="203148"/>
                      </a:lnTo>
                      <a:cubicBezTo>
                        <a:pt x="71464" y="201748"/>
                        <a:pt x="71373" y="200338"/>
                        <a:pt x="71127" y="198962"/>
                      </a:cubicBezTo>
                      <a:cubicBezTo>
                        <a:pt x="66894" y="175255"/>
                        <a:pt x="854" y="150702"/>
                        <a:pt x="7" y="122762"/>
                      </a:cubicBezTo>
                      <a:cubicBezTo>
                        <a:pt x="-246" y="114413"/>
                        <a:pt x="6760" y="103719"/>
                        <a:pt x="17044" y="92286"/>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84" name="Freeform 83"/>
                <p:cNvSpPr/>
                <p:nvPr/>
              </p:nvSpPr>
              <p:spPr>
                <a:xfrm>
                  <a:off x="4084442" y="5334842"/>
                  <a:ext cx="972935" cy="141885"/>
                </a:xfrm>
                <a:custGeom>
                  <a:avLst/>
                  <a:gdLst/>
                  <a:ahLst/>
                  <a:cxnLst/>
                  <a:rect l="l" t="t" r="r" b="b"/>
                  <a:pathLst>
                    <a:path w="1392370" h="203052">
                      <a:moveTo>
                        <a:pt x="1329184" y="0"/>
                      </a:moveTo>
                      <a:cubicBezTo>
                        <a:pt x="1347693" y="33963"/>
                        <a:pt x="1396511" y="61654"/>
                        <a:pt x="1392089" y="82288"/>
                      </a:cubicBezTo>
                      <a:cubicBezTo>
                        <a:pt x="1389561" y="94086"/>
                        <a:pt x="1370889" y="102738"/>
                        <a:pt x="1352660" y="112938"/>
                      </a:cubicBezTo>
                      <a:lnTo>
                        <a:pt x="63968" y="203052"/>
                      </a:lnTo>
                      <a:cubicBezTo>
                        <a:pt x="68944" y="198570"/>
                        <a:pt x="71031" y="193484"/>
                        <a:pt x="71289" y="188968"/>
                      </a:cubicBezTo>
                      <a:cubicBezTo>
                        <a:pt x="72982" y="159335"/>
                        <a:pt x="-4064" y="145788"/>
                        <a:pt x="169" y="112768"/>
                      </a:cubicBezTo>
                      <a:lnTo>
                        <a:pt x="10766" y="9219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85" name="Freeform 84"/>
                <p:cNvSpPr/>
                <p:nvPr/>
              </p:nvSpPr>
              <p:spPr>
                <a:xfrm>
                  <a:off x="4080889" y="5208287"/>
                  <a:ext cx="979841" cy="141561"/>
                </a:xfrm>
                <a:custGeom>
                  <a:avLst/>
                  <a:gdLst/>
                  <a:ahLst/>
                  <a:cxnLst/>
                  <a:rect l="l" t="t" r="r" b="b"/>
                  <a:pathLst>
                    <a:path w="1402254" h="202589">
                      <a:moveTo>
                        <a:pt x="1327165" y="0"/>
                      </a:moveTo>
                      <a:cubicBezTo>
                        <a:pt x="1345502" y="29113"/>
                        <a:pt x="1402254" y="67305"/>
                        <a:pt x="1402254" y="85604"/>
                      </a:cubicBezTo>
                      <a:cubicBezTo>
                        <a:pt x="1402254" y="94165"/>
                        <a:pt x="1389065" y="102342"/>
                        <a:pt x="1373510" y="111338"/>
                      </a:cubicBezTo>
                      <a:lnTo>
                        <a:pt x="68561" y="202589"/>
                      </a:lnTo>
                      <a:cubicBezTo>
                        <a:pt x="60713" y="175951"/>
                        <a:pt x="-3772" y="139763"/>
                        <a:pt x="174" y="116084"/>
                      </a:cubicBezTo>
                      <a:cubicBezTo>
                        <a:pt x="1332" y="109136"/>
                        <a:pt x="7527" y="100699"/>
                        <a:pt x="16039" y="91683"/>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86" name="Freeform 85"/>
                <p:cNvSpPr/>
                <p:nvPr/>
              </p:nvSpPr>
              <p:spPr>
                <a:xfrm>
                  <a:off x="4336590" y="5852030"/>
                  <a:ext cx="470337" cy="95190"/>
                </a:xfrm>
                <a:custGeom>
                  <a:avLst/>
                  <a:gdLst>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325"/>
                    <a:gd name="connsiteX1" fmla="*/ 241300 w 673100"/>
                    <a:gd name="connsiteY1" fmla="*/ 121920 h 127325"/>
                    <a:gd name="connsiteX2" fmla="*/ 434340 w 673100"/>
                    <a:gd name="connsiteY2" fmla="*/ 127000 h 127325"/>
                    <a:gd name="connsiteX3" fmla="*/ 673100 w 673100"/>
                    <a:gd name="connsiteY3" fmla="*/ 0 h 127325"/>
                    <a:gd name="connsiteX4" fmla="*/ 0 w 673100"/>
                    <a:gd name="connsiteY4" fmla="*/ 5080 h 127325"/>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4622"/>
                    <a:gd name="connsiteX1" fmla="*/ 241300 w 673100"/>
                    <a:gd name="connsiteY1" fmla="*/ 121920 h 134622"/>
                    <a:gd name="connsiteX2" fmla="*/ 434340 w 673100"/>
                    <a:gd name="connsiteY2" fmla="*/ 127000 h 134622"/>
                    <a:gd name="connsiteX3" fmla="*/ 673100 w 673100"/>
                    <a:gd name="connsiteY3" fmla="*/ 0 h 134622"/>
                    <a:gd name="connsiteX4" fmla="*/ 0 w 673100"/>
                    <a:gd name="connsiteY4" fmla="*/ 5080 h 134622"/>
                    <a:gd name="connsiteX0" fmla="*/ 0 w 673100"/>
                    <a:gd name="connsiteY0" fmla="*/ 5080 h 136227"/>
                    <a:gd name="connsiteX1" fmla="*/ 241300 w 673100"/>
                    <a:gd name="connsiteY1" fmla="*/ 121920 h 136227"/>
                    <a:gd name="connsiteX2" fmla="*/ 434340 w 673100"/>
                    <a:gd name="connsiteY2" fmla="*/ 127000 h 136227"/>
                    <a:gd name="connsiteX3" fmla="*/ 673100 w 673100"/>
                    <a:gd name="connsiteY3" fmla="*/ 0 h 136227"/>
                    <a:gd name="connsiteX4" fmla="*/ 0 w 673100"/>
                    <a:gd name="connsiteY4" fmla="*/ 5080 h 136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00" h="136227">
                      <a:moveTo>
                        <a:pt x="0" y="5080"/>
                      </a:moveTo>
                      <a:cubicBezTo>
                        <a:pt x="423" y="32597"/>
                        <a:pt x="226483" y="106892"/>
                        <a:pt x="241300" y="121920"/>
                      </a:cubicBezTo>
                      <a:cubicBezTo>
                        <a:pt x="256117" y="136948"/>
                        <a:pt x="421428" y="142452"/>
                        <a:pt x="434340" y="127000"/>
                      </a:cubicBezTo>
                      <a:cubicBezTo>
                        <a:pt x="447252" y="111548"/>
                        <a:pt x="671618" y="23283"/>
                        <a:pt x="673100" y="0"/>
                      </a:cubicBezTo>
                      <a:lnTo>
                        <a:pt x="0" y="508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80" name="Oval 79"/>
              <p:cNvSpPr/>
              <p:nvPr/>
            </p:nvSpPr>
            <p:spPr>
              <a:xfrm rot="19080000" flipH="1">
                <a:off x="3521505" y="2435407"/>
                <a:ext cx="890063" cy="265634"/>
              </a:xfrm>
              <a:prstGeom prst="ellipse">
                <a:avLst/>
              </a:prstGeom>
              <a:gradFill flip="none" rotWithShape="1">
                <a:gsLst>
                  <a:gs pos="28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76" name="Oval 75"/>
            <p:cNvSpPr/>
            <p:nvPr/>
          </p:nvSpPr>
          <p:spPr>
            <a:xfrm>
              <a:off x="6247117" y="2512770"/>
              <a:ext cx="1162056" cy="1079812"/>
            </a:xfrm>
            <a:prstGeom prst="ellipse">
              <a:avLst/>
            </a:prstGeom>
            <a:gradFill flip="none" rotWithShape="1">
              <a:gsLst>
                <a:gs pos="32000">
                  <a:srgbClr val="00B0F0"/>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ysClr val="window" lastClr="FFFFFF"/>
                </a:solidFill>
                <a:latin typeface="Arial" panose="020B0604020202020204" pitchFamily="34" charset="0"/>
                <a:cs typeface="Arial" panose="020B0604020202020204" pitchFamily="34" charset="0"/>
              </a:endParaRPr>
            </a:p>
          </p:txBody>
        </p:sp>
      </p:grpSp>
      <p:grpSp>
        <p:nvGrpSpPr>
          <p:cNvPr id="96" name="Group 95"/>
          <p:cNvGrpSpPr/>
          <p:nvPr userDrawn="1"/>
        </p:nvGrpSpPr>
        <p:grpSpPr>
          <a:xfrm rot="18650810">
            <a:off x="5903905" y="1364809"/>
            <a:ext cx="588708" cy="1040024"/>
            <a:chOff x="5869118" y="1864852"/>
            <a:chExt cx="1875650" cy="3313563"/>
          </a:xfrm>
        </p:grpSpPr>
        <p:grpSp>
          <p:nvGrpSpPr>
            <p:cNvPr id="97" name="Group 96"/>
            <p:cNvGrpSpPr/>
            <p:nvPr/>
          </p:nvGrpSpPr>
          <p:grpSpPr>
            <a:xfrm>
              <a:off x="5869118" y="1864852"/>
              <a:ext cx="1875650" cy="3313563"/>
              <a:chOff x="3509193" y="2208611"/>
              <a:chExt cx="2116248" cy="3738609"/>
            </a:xfrm>
          </p:grpSpPr>
          <p:sp>
            <p:nvSpPr>
              <p:cNvPr id="99" name="Freeform 98"/>
              <p:cNvSpPr/>
              <p:nvPr/>
            </p:nvSpPr>
            <p:spPr>
              <a:xfrm>
                <a:off x="3509193" y="2208611"/>
                <a:ext cx="2116248" cy="2832368"/>
              </a:xfrm>
              <a:custGeom>
                <a:avLst/>
                <a:gdLst>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88" h="1692915">
                    <a:moveTo>
                      <a:pt x="632444" y="0"/>
                    </a:moveTo>
                    <a:cubicBezTo>
                      <a:pt x="981735" y="7"/>
                      <a:pt x="1264888" y="283165"/>
                      <a:pt x="1264888" y="632458"/>
                    </a:cubicBezTo>
                    <a:cubicBezTo>
                      <a:pt x="1264888" y="722053"/>
                      <a:pt x="1243620" y="800469"/>
                      <a:pt x="1212119" y="884292"/>
                    </a:cubicBezTo>
                    <a:cubicBezTo>
                      <a:pt x="1180618" y="968115"/>
                      <a:pt x="1050676" y="1160843"/>
                      <a:pt x="1026175" y="1272920"/>
                    </a:cubicBezTo>
                    <a:cubicBezTo>
                      <a:pt x="1001674" y="1384997"/>
                      <a:pt x="991603" y="1515490"/>
                      <a:pt x="972341" y="1634870"/>
                    </a:cubicBezTo>
                    <a:cubicBezTo>
                      <a:pt x="968177" y="1660679"/>
                      <a:pt x="924730" y="1693412"/>
                      <a:pt x="888132" y="1692910"/>
                    </a:cubicBezTo>
                    <a:cubicBezTo>
                      <a:pt x="851534" y="1692408"/>
                      <a:pt x="429358" y="1692412"/>
                      <a:pt x="376023" y="1692910"/>
                    </a:cubicBezTo>
                    <a:cubicBezTo>
                      <a:pt x="322688" y="1693408"/>
                      <a:pt x="296690" y="1660741"/>
                      <a:pt x="292547" y="1635064"/>
                    </a:cubicBezTo>
                    <a:cubicBezTo>
                      <a:pt x="273285" y="1515684"/>
                      <a:pt x="263214" y="1385191"/>
                      <a:pt x="238713" y="1273114"/>
                    </a:cubicBezTo>
                    <a:cubicBezTo>
                      <a:pt x="214212" y="1161037"/>
                      <a:pt x="84270" y="968309"/>
                      <a:pt x="52769" y="884486"/>
                    </a:cubicBezTo>
                    <a:cubicBezTo>
                      <a:pt x="21268" y="800663"/>
                      <a:pt x="0" y="722247"/>
                      <a:pt x="0" y="632652"/>
                    </a:cubicBezTo>
                    <a:cubicBezTo>
                      <a:pt x="0" y="283359"/>
                      <a:pt x="283153" y="201"/>
                      <a:pt x="632444" y="194"/>
                    </a:cubicBezTo>
                    <a:lnTo>
                      <a:pt x="632444" y="0"/>
                    </a:lnTo>
                    <a:close/>
                  </a:path>
                </a:pathLst>
              </a:custGeom>
              <a:solidFill>
                <a:srgbClr val="00B0F0">
                  <a:alpha val="20000"/>
                </a:srgbClr>
              </a:solidFill>
              <a:ln>
                <a:noFill/>
              </a:ln>
              <a:effectLst/>
              <a:scene3d>
                <a:camera prst="orthographicFront">
                  <a:rot lat="0" lon="0" rev="0"/>
                </a:camera>
                <a:lightRig rig="twoPt" dir="t">
                  <a:rot lat="0" lon="0" rev="0"/>
                </a:lightRig>
              </a:scene3d>
              <a:sp3d prstMaterial="clear">
                <a:bevelT w="317500" h="1905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nvGrpSpPr>
              <p:cNvPr id="100" name="Group 99"/>
              <p:cNvGrpSpPr/>
              <p:nvPr/>
            </p:nvGrpSpPr>
            <p:grpSpPr>
              <a:xfrm>
                <a:off x="4221220" y="3554960"/>
                <a:ext cx="700181" cy="1502973"/>
                <a:chOff x="6480420" y="3161623"/>
                <a:chExt cx="813818" cy="1746901"/>
              </a:xfrm>
            </p:grpSpPr>
            <p:sp>
              <p:nvSpPr>
                <p:cNvPr id="109" name="Freeform 108"/>
                <p:cNvSpPr/>
                <p:nvPr/>
              </p:nvSpPr>
              <p:spPr>
                <a:xfrm>
                  <a:off x="6747926" y="4123689"/>
                  <a:ext cx="27850" cy="772043"/>
                </a:xfrm>
                <a:custGeom>
                  <a:avLst/>
                  <a:gdLst>
                    <a:gd name="connsiteX0" fmla="*/ 0 w 34290"/>
                    <a:gd name="connsiteY0" fmla="*/ 0 h 950595"/>
                    <a:gd name="connsiteX1" fmla="*/ 34290 w 34290"/>
                    <a:gd name="connsiteY1" fmla="*/ 950595 h 950595"/>
                  </a:gdLst>
                  <a:ahLst/>
                  <a:cxnLst>
                    <a:cxn ang="0">
                      <a:pos x="connsiteX0" y="connsiteY0"/>
                    </a:cxn>
                    <a:cxn ang="0">
                      <a:pos x="connsiteX1" y="connsiteY1"/>
                    </a:cxn>
                  </a:cxnLst>
                  <a:rect l="l" t="t" r="r" b="b"/>
                  <a:pathLst>
                    <a:path w="34290" h="950595">
                      <a:moveTo>
                        <a:pt x="0" y="0"/>
                      </a:moveTo>
                      <a:lnTo>
                        <a:pt x="34290" y="950595"/>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10" name="Freeform 109"/>
                <p:cNvSpPr/>
                <p:nvPr/>
              </p:nvSpPr>
              <p:spPr>
                <a:xfrm>
                  <a:off x="7003162" y="4123690"/>
                  <a:ext cx="21660" cy="770496"/>
                </a:xfrm>
                <a:custGeom>
                  <a:avLst/>
                  <a:gdLst>
                    <a:gd name="connsiteX0" fmla="*/ 26670 w 26670"/>
                    <a:gd name="connsiteY0" fmla="*/ 0 h 948690"/>
                    <a:gd name="connsiteX1" fmla="*/ 0 w 26670"/>
                    <a:gd name="connsiteY1" fmla="*/ 948690 h 948690"/>
                  </a:gdLst>
                  <a:ahLst/>
                  <a:cxnLst>
                    <a:cxn ang="0">
                      <a:pos x="connsiteX0" y="connsiteY0"/>
                    </a:cxn>
                    <a:cxn ang="0">
                      <a:pos x="connsiteX1" y="connsiteY1"/>
                    </a:cxn>
                  </a:cxnLst>
                  <a:rect l="l" t="t" r="r" b="b"/>
                  <a:pathLst>
                    <a:path w="26670" h="948690">
                      <a:moveTo>
                        <a:pt x="26670" y="0"/>
                      </a:moveTo>
                      <a:lnTo>
                        <a:pt x="0" y="948690"/>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11" name="Freeform 110"/>
                <p:cNvSpPr/>
                <p:nvPr/>
              </p:nvSpPr>
              <p:spPr>
                <a:xfrm>
                  <a:off x="6672271" y="3166397"/>
                  <a:ext cx="120681" cy="521400"/>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123 w 148713"/>
                    <a:gd name="connsiteY0" fmla="*/ 0 h 641985"/>
                    <a:gd name="connsiteX1" fmla="*/ 3933 w 148713"/>
                    <a:gd name="connsiteY1" fmla="*/ 110490 h 641985"/>
                    <a:gd name="connsiteX2" fmla="*/ 34413 w 148713"/>
                    <a:gd name="connsiteY2" fmla="*/ 129540 h 641985"/>
                    <a:gd name="connsiteX3" fmla="*/ 57273 w 148713"/>
                    <a:gd name="connsiteY3" fmla="*/ 87630 h 641985"/>
                    <a:gd name="connsiteX4" fmla="*/ 30603 w 148713"/>
                    <a:gd name="connsiteY4" fmla="*/ 57150 h 641985"/>
                    <a:gd name="connsiteX5" fmla="*/ 15363 w 148713"/>
                    <a:gd name="connsiteY5" fmla="*/ 144780 h 641985"/>
                    <a:gd name="connsiteX6" fmla="*/ 148713 w 148713"/>
                    <a:gd name="connsiteY6" fmla="*/ 641985 h 641985"/>
                    <a:gd name="connsiteX0" fmla="*/ 0 w 148590"/>
                    <a:gd name="connsiteY0" fmla="*/ 0 h 641985"/>
                    <a:gd name="connsiteX1" fmla="*/ 3810 w 148590"/>
                    <a:gd name="connsiteY1" fmla="*/ 110490 h 641985"/>
                    <a:gd name="connsiteX2" fmla="*/ 34290 w 148590"/>
                    <a:gd name="connsiteY2" fmla="*/ 129540 h 641985"/>
                    <a:gd name="connsiteX3" fmla="*/ 57150 w 148590"/>
                    <a:gd name="connsiteY3" fmla="*/ 87630 h 641985"/>
                    <a:gd name="connsiteX4" fmla="*/ 30480 w 148590"/>
                    <a:gd name="connsiteY4" fmla="*/ 57150 h 641985"/>
                    <a:gd name="connsiteX5" fmla="*/ 15240 w 148590"/>
                    <a:gd name="connsiteY5" fmla="*/ 144780 h 641985"/>
                    <a:gd name="connsiteX6" fmla="*/ 148590 w 148590"/>
                    <a:gd name="connsiteY6" fmla="*/ 641985 h 64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 h="641985">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931" y="57677"/>
                        <a:pt x="30480" y="57150"/>
                      </a:cubicBezTo>
                      <a:cubicBezTo>
                        <a:pt x="8255" y="56515"/>
                        <a:pt x="-4445" y="47308"/>
                        <a:pt x="15240" y="144780"/>
                      </a:cubicBezTo>
                      <a:cubicBezTo>
                        <a:pt x="34925" y="242253"/>
                        <a:pt x="104140" y="467995"/>
                        <a:pt x="148590" y="641985"/>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12" name="Freeform 111"/>
                <p:cNvSpPr/>
                <p:nvPr/>
              </p:nvSpPr>
              <p:spPr>
                <a:xfrm rot="21360000" flipH="1">
                  <a:off x="6946994" y="3161623"/>
                  <a:ext cx="116190" cy="521665"/>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061" h="642311">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877" y="55639"/>
                        <a:pt x="30480" y="57150"/>
                      </a:cubicBezTo>
                      <a:cubicBezTo>
                        <a:pt x="6441" y="59125"/>
                        <a:pt x="-3523" y="47253"/>
                        <a:pt x="15240" y="144780"/>
                      </a:cubicBezTo>
                      <a:cubicBezTo>
                        <a:pt x="34003" y="242307"/>
                        <a:pt x="98611" y="468321"/>
                        <a:pt x="143061" y="642311"/>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13" name="Freeform 112"/>
                <p:cNvSpPr/>
                <p:nvPr/>
              </p:nvSpPr>
              <p:spPr>
                <a:xfrm>
                  <a:off x="6480420" y="3237725"/>
                  <a:ext cx="812786" cy="82516"/>
                </a:xfrm>
                <a:custGeom>
                  <a:avLst/>
                  <a:gdLst>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1000760" h="101600">
                      <a:moveTo>
                        <a:pt x="0" y="86360"/>
                      </a:moveTo>
                      <a:cubicBezTo>
                        <a:pt x="143087" y="92287"/>
                        <a:pt x="174413" y="55033"/>
                        <a:pt x="261620" y="5080"/>
                      </a:cubicBezTo>
                      <a:cubicBezTo>
                        <a:pt x="395393" y="33867"/>
                        <a:pt x="516467" y="37253"/>
                        <a:pt x="662940" y="0"/>
                      </a:cubicBezTo>
                      <a:cubicBezTo>
                        <a:pt x="813647" y="69427"/>
                        <a:pt x="865293" y="90593"/>
                        <a:pt x="1000760" y="101600"/>
                      </a:cubicBezTo>
                    </a:path>
                  </a:pathLst>
                </a:custGeom>
                <a:noFill/>
                <a:ln w="19050" cap="rnd" cmpd="sng">
                  <a:solidFill>
                    <a:schemeClr val="tx1">
                      <a:lumMod val="50000"/>
                      <a:lumOff val="50000"/>
                    </a:schemeClr>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14" name="Freeform 113"/>
                <p:cNvSpPr/>
                <p:nvPr/>
              </p:nvSpPr>
              <p:spPr>
                <a:xfrm flipH="1">
                  <a:off x="6678460" y="3749170"/>
                  <a:ext cx="412581" cy="1159354"/>
                </a:xfrm>
                <a:custGeom>
                  <a:avLst/>
                  <a:gdLst/>
                  <a:ahLst/>
                  <a:cxnLst/>
                  <a:rect l="l" t="t" r="r" b="b"/>
                  <a:pathLst>
                    <a:path w="508000" h="1427480">
                      <a:moveTo>
                        <a:pt x="254000" y="647700"/>
                      </a:moveTo>
                      <a:cubicBezTo>
                        <a:pt x="294681" y="647700"/>
                        <a:pt x="327660" y="680679"/>
                        <a:pt x="327660" y="721360"/>
                      </a:cubicBezTo>
                      <a:cubicBezTo>
                        <a:pt x="327660" y="762041"/>
                        <a:pt x="294681" y="795020"/>
                        <a:pt x="254000" y="795020"/>
                      </a:cubicBezTo>
                      <a:cubicBezTo>
                        <a:pt x="213319" y="795020"/>
                        <a:pt x="180340" y="762041"/>
                        <a:pt x="180340" y="721360"/>
                      </a:cubicBezTo>
                      <a:cubicBezTo>
                        <a:pt x="180340" y="680679"/>
                        <a:pt x="213319" y="647700"/>
                        <a:pt x="254000" y="647700"/>
                      </a:cubicBezTo>
                      <a:close/>
                      <a:moveTo>
                        <a:pt x="325120" y="0"/>
                      </a:moveTo>
                      <a:lnTo>
                        <a:pt x="254000" y="2453"/>
                      </a:lnTo>
                      <a:lnTo>
                        <a:pt x="182880" y="0"/>
                      </a:lnTo>
                      <a:lnTo>
                        <a:pt x="182880" y="375920"/>
                      </a:lnTo>
                      <a:cubicBezTo>
                        <a:pt x="178647" y="395393"/>
                        <a:pt x="191135" y="416348"/>
                        <a:pt x="170180" y="434340"/>
                      </a:cubicBezTo>
                      <a:cubicBezTo>
                        <a:pt x="149225" y="452332"/>
                        <a:pt x="11007" y="447040"/>
                        <a:pt x="10160" y="551180"/>
                      </a:cubicBezTo>
                      <a:cubicBezTo>
                        <a:pt x="9313" y="655320"/>
                        <a:pt x="53975" y="768138"/>
                        <a:pt x="53340" y="817880"/>
                      </a:cubicBezTo>
                      <a:cubicBezTo>
                        <a:pt x="52705" y="867622"/>
                        <a:pt x="0" y="937472"/>
                        <a:pt x="0" y="995680"/>
                      </a:cubicBezTo>
                      <a:lnTo>
                        <a:pt x="0" y="1427480"/>
                      </a:lnTo>
                      <a:lnTo>
                        <a:pt x="254000" y="1427480"/>
                      </a:lnTo>
                      <a:lnTo>
                        <a:pt x="508000" y="1427480"/>
                      </a:lnTo>
                      <a:lnTo>
                        <a:pt x="508000" y="995680"/>
                      </a:lnTo>
                      <a:cubicBezTo>
                        <a:pt x="508000" y="937472"/>
                        <a:pt x="455295" y="867622"/>
                        <a:pt x="454660" y="817880"/>
                      </a:cubicBezTo>
                      <a:cubicBezTo>
                        <a:pt x="454025" y="768138"/>
                        <a:pt x="498687" y="655320"/>
                        <a:pt x="497840" y="551180"/>
                      </a:cubicBezTo>
                      <a:cubicBezTo>
                        <a:pt x="496993" y="447040"/>
                        <a:pt x="358775" y="452332"/>
                        <a:pt x="337820" y="434340"/>
                      </a:cubicBezTo>
                      <a:cubicBezTo>
                        <a:pt x="316865" y="416348"/>
                        <a:pt x="329353" y="395393"/>
                        <a:pt x="325120" y="375920"/>
                      </a:cubicBezTo>
                      <a:close/>
                    </a:path>
                  </a:pathLst>
                </a:custGeom>
                <a:solidFill>
                  <a:schemeClr val="bg1">
                    <a:alpha val="20000"/>
                  </a:schemeClr>
                </a:solidFill>
                <a:ln>
                  <a:noFill/>
                </a:ln>
                <a:effectLst/>
                <a:scene3d>
                  <a:camera prst="orthographicFront">
                    <a:rot lat="0" lon="0" rev="0"/>
                  </a:camera>
                  <a:lightRig rig="chilly" dir="t"/>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15" name="Freeform 114"/>
                <p:cNvSpPr/>
                <p:nvPr/>
              </p:nvSpPr>
              <p:spPr>
                <a:xfrm>
                  <a:off x="6480420"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16" name="Freeform 115"/>
                <p:cNvSpPr/>
                <p:nvPr/>
              </p:nvSpPr>
              <p:spPr>
                <a:xfrm flipH="1">
                  <a:off x="7028123"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17" name="Rounded Rectangle 116"/>
                <p:cNvSpPr/>
                <p:nvPr/>
              </p:nvSpPr>
              <p:spPr>
                <a:xfrm>
                  <a:off x="6771291" y="3686870"/>
                  <a:ext cx="222795" cy="61888"/>
                </a:xfrm>
                <a:prstGeom prst="roundRect">
                  <a:avLst>
                    <a:gd name="adj" fmla="val 50000"/>
                  </a:avLst>
                </a:prstGeom>
                <a:solidFill>
                  <a:schemeClr val="bg1">
                    <a:alpha val="2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grpSp>
            <p:nvGrpSpPr>
              <p:cNvPr id="101" name="Group 100"/>
              <p:cNvGrpSpPr/>
              <p:nvPr/>
            </p:nvGrpSpPr>
            <p:grpSpPr>
              <a:xfrm>
                <a:off x="4077456" y="5030272"/>
                <a:ext cx="983340" cy="916948"/>
                <a:chOff x="4077456" y="5030272"/>
                <a:chExt cx="983340" cy="916948"/>
              </a:xfrm>
            </p:grpSpPr>
            <p:sp>
              <p:nvSpPr>
                <p:cNvPr id="103" name="Freeform 102"/>
                <p:cNvSpPr/>
                <p:nvPr/>
              </p:nvSpPr>
              <p:spPr>
                <a:xfrm>
                  <a:off x="4077456" y="5030272"/>
                  <a:ext cx="983340" cy="827082"/>
                </a:xfrm>
                <a:custGeom>
                  <a:avLst/>
                  <a:gdLst>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303"/>
                    <a:gd name="connsiteY0" fmla="*/ 0 h 1183640"/>
                    <a:gd name="connsiteX1" fmla="*/ 1402080 w 1407303"/>
                    <a:gd name="connsiteY1" fmla="*/ 177800 h 1183640"/>
                    <a:gd name="connsiteX2" fmla="*/ 1325880 w 1407303"/>
                    <a:gd name="connsiteY2" fmla="*/ 238760 h 1183640"/>
                    <a:gd name="connsiteX3" fmla="*/ 1407160 w 1407303"/>
                    <a:gd name="connsiteY3" fmla="*/ 340360 h 1183640"/>
                    <a:gd name="connsiteX4" fmla="*/ 1330960 w 1407303"/>
                    <a:gd name="connsiteY4" fmla="*/ 421640 h 1183640"/>
                    <a:gd name="connsiteX5" fmla="*/ 1402080 w 1407303"/>
                    <a:gd name="connsiteY5" fmla="*/ 518160 h 1183640"/>
                    <a:gd name="connsiteX6" fmla="*/ 1325880 w 1407303"/>
                    <a:gd name="connsiteY6" fmla="*/ 589280 h 1183640"/>
                    <a:gd name="connsiteX7" fmla="*/ 1407160 w 1407303"/>
                    <a:gd name="connsiteY7" fmla="*/ 690880 h 1183640"/>
                    <a:gd name="connsiteX8" fmla="*/ 1325880 w 1407303"/>
                    <a:gd name="connsiteY8" fmla="*/ 772160 h 1183640"/>
                    <a:gd name="connsiteX9" fmla="*/ 1407160 w 1407303"/>
                    <a:gd name="connsiteY9" fmla="*/ 863600 h 1183640"/>
                    <a:gd name="connsiteX10" fmla="*/ 1366520 w 1407303"/>
                    <a:gd name="connsiteY10" fmla="*/ 980440 h 1183640"/>
                    <a:gd name="connsiteX11" fmla="*/ 1036320 w 1407303"/>
                    <a:gd name="connsiteY11" fmla="*/ 1178560 h 1183640"/>
                    <a:gd name="connsiteX12" fmla="*/ 381000 w 1407303"/>
                    <a:gd name="connsiteY12" fmla="*/ 1183640 h 1183640"/>
                    <a:gd name="connsiteX13" fmla="*/ 15240 w 1407303"/>
                    <a:gd name="connsiteY13" fmla="*/ 899160 h 1183640"/>
                    <a:gd name="connsiteX14" fmla="*/ 71120 w 1407303"/>
                    <a:gd name="connsiteY14" fmla="*/ 812800 h 1183640"/>
                    <a:gd name="connsiteX15" fmla="*/ 0 w 1407303"/>
                    <a:gd name="connsiteY15" fmla="*/ 736600 h 1183640"/>
                    <a:gd name="connsiteX16" fmla="*/ 81280 w 1407303"/>
                    <a:gd name="connsiteY16" fmla="*/ 624840 h 1183640"/>
                    <a:gd name="connsiteX17" fmla="*/ 10160 w 1407303"/>
                    <a:gd name="connsiteY17" fmla="*/ 548640 h 1183640"/>
                    <a:gd name="connsiteX18" fmla="*/ 76200 w 1407303"/>
                    <a:gd name="connsiteY18" fmla="*/ 462280 h 1183640"/>
                    <a:gd name="connsiteX19" fmla="*/ 5080 w 1407303"/>
                    <a:gd name="connsiteY19" fmla="*/ 370840 h 1183640"/>
                    <a:gd name="connsiteX20" fmla="*/ 81280 w 1407303"/>
                    <a:gd name="connsiteY20" fmla="*/ 274320 h 1183640"/>
                    <a:gd name="connsiteX21" fmla="*/ 15240 w 1407303"/>
                    <a:gd name="connsiteY21" fmla="*/ 218440 h 1183640"/>
                    <a:gd name="connsiteX22" fmla="*/ 5080 w 1407303"/>
                    <a:gd name="connsiteY22" fmla="*/ 5080 h 1183640"/>
                    <a:gd name="connsiteX23" fmla="*/ 1402080 w 1407303"/>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9 w 1407263"/>
                    <a:gd name="connsiteY0" fmla="*/ 0 h 1183640"/>
                    <a:gd name="connsiteX1" fmla="*/ 1402089 w 1407263"/>
                    <a:gd name="connsiteY1" fmla="*/ 177800 h 1183640"/>
                    <a:gd name="connsiteX2" fmla="*/ 1325889 w 1407263"/>
                    <a:gd name="connsiteY2" fmla="*/ 238760 h 1183640"/>
                    <a:gd name="connsiteX3" fmla="*/ 1407169 w 1407263"/>
                    <a:gd name="connsiteY3" fmla="*/ 340360 h 1183640"/>
                    <a:gd name="connsiteX4" fmla="*/ 1330969 w 1407263"/>
                    <a:gd name="connsiteY4" fmla="*/ 421640 h 1183640"/>
                    <a:gd name="connsiteX5" fmla="*/ 1402089 w 1407263"/>
                    <a:gd name="connsiteY5" fmla="*/ 518160 h 1183640"/>
                    <a:gd name="connsiteX6" fmla="*/ 1325889 w 1407263"/>
                    <a:gd name="connsiteY6" fmla="*/ 589280 h 1183640"/>
                    <a:gd name="connsiteX7" fmla="*/ 1407169 w 1407263"/>
                    <a:gd name="connsiteY7" fmla="*/ 690880 h 1183640"/>
                    <a:gd name="connsiteX8" fmla="*/ 1325889 w 1407263"/>
                    <a:gd name="connsiteY8" fmla="*/ 772160 h 1183640"/>
                    <a:gd name="connsiteX9" fmla="*/ 1407169 w 1407263"/>
                    <a:gd name="connsiteY9" fmla="*/ 863600 h 1183640"/>
                    <a:gd name="connsiteX10" fmla="*/ 1366529 w 1407263"/>
                    <a:gd name="connsiteY10" fmla="*/ 980440 h 1183640"/>
                    <a:gd name="connsiteX11" fmla="*/ 1036329 w 1407263"/>
                    <a:gd name="connsiteY11" fmla="*/ 1178560 h 1183640"/>
                    <a:gd name="connsiteX12" fmla="*/ 381009 w 1407263"/>
                    <a:gd name="connsiteY12" fmla="*/ 1183640 h 1183640"/>
                    <a:gd name="connsiteX13" fmla="*/ 15249 w 1407263"/>
                    <a:gd name="connsiteY13" fmla="*/ 899160 h 1183640"/>
                    <a:gd name="connsiteX14" fmla="*/ 71129 w 1407263"/>
                    <a:gd name="connsiteY14" fmla="*/ 812800 h 1183640"/>
                    <a:gd name="connsiteX15" fmla="*/ 9 w 1407263"/>
                    <a:gd name="connsiteY15" fmla="*/ 736600 h 1183640"/>
                    <a:gd name="connsiteX16" fmla="*/ 81289 w 1407263"/>
                    <a:gd name="connsiteY16" fmla="*/ 624840 h 1183640"/>
                    <a:gd name="connsiteX17" fmla="*/ 10169 w 1407263"/>
                    <a:gd name="connsiteY17" fmla="*/ 548640 h 1183640"/>
                    <a:gd name="connsiteX18" fmla="*/ 76209 w 1407263"/>
                    <a:gd name="connsiteY18" fmla="*/ 462280 h 1183640"/>
                    <a:gd name="connsiteX19" fmla="*/ 5089 w 1407263"/>
                    <a:gd name="connsiteY19" fmla="*/ 370840 h 1183640"/>
                    <a:gd name="connsiteX20" fmla="*/ 81289 w 1407263"/>
                    <a:gd name="connsiteY20" fmla="*/ 274320 h 1183640"/>
                    <a:gd name="connsiteX21" fmla="*/ 15249 w 1407263"/>
                    <a:gd name="connsiteY21" fmla="*/ 218440 h 1183640"/>
                    <a:gd name="connsiteX22" fmla="*/ 5089 w 1407263"/>
                    <a:gd name="connsiteY22" fmla="*/ 5080 h 1183640"/>
                    <a:gd name="connsiteX23" fmla="*/ 1402089 w 1407263"/>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7627 w 1407261"/>
                    <a:gd name="connsiteY21" fmla="*/ 215900 h 1183640"/>
                    <a:gd name="connsiteX22" fmla="*/ 5087 w 1407261"/>
                    <a:gd name="connsiteY22" fmla="*/ 5080 h 1183640"/>
                    <a:gd name="connsiteX23" fmla="*/ 1402087 w 1407261"/>
                    <a:gd name="connsiteY23" fmla="*/ 0 h 118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07261" h="1183640">
                      <a:moveTo>
                        <a:pt x="1402087" y="0"/>
                      </a:moveTo>
                      <a:lnTo>
                        <a:pt x="1402087" y="177800"/>
                      </a:lnTo>
                      <a:cubicBezTo>
                        <a:pt x="1376687" y="198120"/>
                        <a:pt x="1326734" y="209973"/>
                        <a:pt x="1325887" y="238760"/>
                      </a:cubicBezTo>
                      <a:cubicBezTo>
                        <a:pt x="1325040" y="267547"/>
                        <a:pt x="1407167" y="318347"/>
                        <a:pt x="1407167" y="340360"/>
                      </a:cubicBezTo>
                      <a:cubicBezTo>
                        <a:pt x="1407167" y="362373"/>
                        <a:pt x="1319960" y="381847"/>
                        <a:pt x="1330967" y="421640"/>
                      </a:cubicBezTo>
                      <a:cubicBezTo>
                        <a:pt x="1341974" y="461433"/>
                        <a:pt x="1407167" y="494453"/>
                        <a:pt x="1402087" y="518160"/>
                      </a:cubicBezTo>
                      <a:cubicBezTo>
                        <a:pt x="1397007" y="541867"/>
                        <a:pt x="1326734" y="552873"/>
                        <a:pt x="1325887" y="589280"/>
                      </a:cubicBezTo>
                      <a:cubicBezTo>
                        <a:pt x="1325040" y="625687"/>
                        <a:pt x="1403780" y="658707"/>
                        <a:pt x="1407167" y="690880"/>
                      </a:cubicBezTo>
                      <a:cubicBezTo>
                        <a:pt x="1410554" y="723053"/>
                        <a:pt x="1321654" y="736600"/>
                        <a:pt x="1325887" y="772160"/>
                      </a:cubicBezTo>
                      <a:cubicBezTo>
                        <a:pt x="1330120" y="807720"/>
                        <a:pt x="1380074" y="833120"/>
                        <a:pt x="1407167" y="863600"/>
                      </a:cubicBezTo>
                      <a:cubicBezTo>
                        <a:pt x="1393620" y="902547"/>
                        <a:pt x="1390234" y="944880"/>
                        <a:pt x="1366527" y="980440"/>
                      </a:cubicBezTo>
                      <a:cubicBezTo>
                        <a:pt x="1342820" y="1016000"/>
                        <a:pt x="1100674" y="1145540"/>
                        <a:pt x="1036327" y="1178560"/>
                      </a:cubicBezTo>
                      <a:lnTo>
                        <a:pt x="381007" y="1183640"/>
                      </a:lnTo>
                      <a:cubicBezTo>
                        <a:pt x="200667" y="1098973"/>
                        <a:pt x="25407" y="996527"/>
                        <a:pt x="15247" y="899160"/>
                      </a:cubicBezTo>
                      <a:cubicBezTo>
                        <a:pt x="33874" y="870373"/>
                        <a:pt x="75360" y="836507"/>
                        <a:pt x="71127" y="812800"/>
                      </a:cubicBezTo>
                      <a:cubicBezTo>
                        <a:pt x="66894" y="789093"/>
                        <a:pt x="854" y="764540"/>
                        <a:pt x="7" y="736600"/>
                      </a:cubicBezTo>
                      <a:cubicBezTo>
                        <a:pt x="-840" y="708660"/>
                        <a:pt x="79594" y="654473"/>
                        <a:pt x="81287" y="624840"/>
                      </a:cubicBezTo>
                      <a:cubicBezTo>
                        <a:pt x="82980" y="595207"/>
                        <a:pt x="5934" y="581660"/>
                        <a:pt x="10167" y="548640"/>
                      </a:cubicBezTo>
                      <a:cubicBezTo>
                        <a:pt x="14400" y="515620"/>
                        <a:pt x="77054" y="488527"/>
                        <a:pt x="76207" y="462280"/>
                      </a:cubicBezTo>
                      <a:cubicBezTo>
                        <a:pt x="75360" y="436033"/>
                        <a:pt x="854" y="396240"/>
                        <a:pt x="5087" y="370840"/>
                      </a:cubicBezTo>
                      <a:cubicBezTo>
                        <a:pt x="9320" y="345440"/>
                        <a:pt x="80864" y="300143"/>
                        <a:pt x="81287" y="274320"/>
                      </a:cubicBezTo>
                      <a:cubicBezTo>
                        <a:pt x="81710" y="248497"/>
                        <a:pt x="29640" y="234527"/>
                        <a:pt x="7627" y="215900"/>
                      </a:cubicBezTo>
                      <a:cubicBezTo>
                        <a:pt x="6780" y="145627"/>
                        <a:pt x="5934" y="75353"/>
                        <a:pt x="5087" y="5080"/>
                      </a:cubicBezTo>
                      <a:lnTo>
                        <a:pt x="1402087" y="0"/>
                      </a:lnTo>
                      <a:close/>
                    </a:path>
                  </a:pathLst>
                </a:custGeom>
                <a:gradFill flip="none" rotWithShape="1">
                  <a:gsLst>
                    <a:gs pos="0">
                      <a:schemeClr val="bg1">
                        <a:lumMod val="30000"/>
                      </a:schemeClr>
                    </a:gs>
                    <a:gs pos="85000">
                      <a:schemeClr val="bg1">
                        <a:lumMod val="95000"/>
                      </a:schemeClr>
                    </a:gs>
                    <a:gs pos="42000">
                      <a:srgbClr val="B6B6B6">
                        <a:lumMod val="95000"/>
                      </a:srgbClr>
                    </a:gs>
                    <a:gs pos="70000">
                      <a:schemeClr val="bg1">
                        <a:lumMod val="66000"/>
                      </a:schemeClr>
                    </a:gs>
                    <a:gs pos="100000">
                      <a:schemeClr val="bg1">
                        <a:lumMod val="3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04" name="Freeform 103"/>
                <p:cNvSpPr/>
                <p:nvPr/>
              </p:nvSpPr>
              <p:spPr>
                <a:xfrm>
                  <a:off x="4088110" y="5582219"/>
                  <a:ext cx="972621" cy="141683"/>
                </a:xfrm>
                <a:custGeom>
                  <a:avLst/>
                  <a:gdLst/>
                  <a:ahLst/>
                  <a:cxnLst/>
                  <a:rect l="l" t="t" r="r" b="b"/>
                  <a:pathLst>
                    <a:path w="1391920" h="202763">
                      <a:moveTo>
                        <a:pt x="1319213" y="0"/>
                      </a:moveTo>
                      <a:cubicBezTo>
                        <a:pt x="1334296" y="26053"/>
                        <a:pt x="1370352" y="47098"/>
                        <a:pt x="1391920" y="71362"/>
                      </a:cubicBezTo>
                      <a:lnTo>
                        <a:pt x="1381165" y="110247"/>
                      </a:lnTo>
                      <a:lnTo>
                        <a:pt x="58123" y="202763"/>
                      </a:lnTo>
                      <a:cubicBezTo>
                        <a:pt x="24364" y="171244"/>
                        <a:pt x="3328" y="138811"/>
                        <a:pt x="0" y="106922"/>
                      </a:cubicBezTo>
                      <a:lnTo>
                        <a:pt x="11949" y="9141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05" name="Freeform 104"/>
                <p:cNvSpPr/>
                <p:nvPr/>
              </p:nvSpPr>
              <p:spPr>
                <a:xfrm>
                  <a:off x="4077456" y="5459198"/>
                  <a:ext cx="983340" cy="141952"/>
                </a:xfrm>
                <a:custGeom>
                  <a:avLst/>
                  <a:gdLst/>
                  <a:ahLst/>
                  <a:cxnLst/>
                  <a:rect l="l" t="t" r="r" b="b"/>
                  <a:pathLst>
                    <a:path w="1407261" h="203148">
                      <a:moveTo>
                        <a:pt x="1336797" y="0"/>
                      </a:moveTo>
                      <a:cubicBezTo>
                        <a:pt x="1357661" y="27201"/>
                        <a:pt x="1404570" y="52371"/>
                        <a:pt x="1407167" y="77042"/>
                      </a:cubicBezTo>
                      <a:cubicBezTo>
                        <a:pt x="1408668" y="91297"/>
                        <a:pt x="1392052" y="101895"/>
                        <a:pt x="1373255" y="112030"/>
                      </a:cubicBezTo>
                      <a:lnTo>
                        <a:pt x="70196" y="203148"/>
                      </a:lnTo>
                      <a:cubicBezTo>
                        <a:pt x="71464" y="201748"/>
                        <a:pt x="71373" y="200338"/>
                        <a:pt x="71127" y="198962"/>
                      </a:cubicBezTo>
                      <a:cubicBezTo>
                        <a:pt x="66894" y="175255"/>
                        <a:pt x="854" y="150702"/>
                        <a:pt x="7" y="122762"/>
                      </a:cubicBezTo>
                      <a:cubicBezTo>
                        <a:pt x="-246" y="114413"/>
                        <a:pt x="6760" y="103719"/>
                        <a:pt x="17044" y="92286"/>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06" name="Freeform 105"/>
                <p:cNvSpPr/>
                <p:nvPr/>
              </p:nvSpPr>
              <p:spPr>
                <a:xfrm>
                  <a:off x="4084442" y="5334842"/>
                  <a:ext cx="972935" cy="141885"/>
                </a:xfrm>
                <a:custGeom>
                  <a:avLst/>
                  <a:gdLst/>
                  <a:ahLst/>
                  <a:cxnLst/>
                  <a:rect l="l" t="t" r="r" b="b"/>
                  <a:pathLst>
                    <a:path w="1392370" h="203052">
                      <a:moveTo>
                        <a:pt x="1329184" y="0"/>
                      </a:moveTo>
                      <a:cubicBezTo>
                        <a:pt x="1347693" y="33963"/>
                        <a:pt x="1396511" y="61654"/>
                        <a:pt x="1392089" y="82288"/>
                      </a:cubicBezTo>
                      <a:cubicBezTo>
                        <a:pt x="1389561" y="94086"/>
                        <a:pt x="1370889" y="102738"/>
                        <a:pt x="1352660" y="112938"/>
                      </a:cubicBezTo>
                      <a:lnTo>
                        <a:pt x="63968" y="203052"/>
                      </a:lnTo>
                      <a:cubicBezTo>
                        <a:pt x="68944" y="198570"/>
                        <a:pt x="71031" y="193484"/>
                        <a:pt x="71289" y="188968"/>
                      </a:cubicBezTo>
                      <a:cubicBezTo>
                        <a:pt x="72982" y="159335"/>
                        <a:pt x="-4064" y="145788"/>
                        <a:pt x="169" y="112768"/>
                      </a:cubicBezTo>
                      <a:lnTo>
                        <a:pt x="10766" y="9219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07" name="Freeform 106"/>
                <p:cNvSpPr/>
                <p:nvPr/>
              </p:nvSpPr>
              <p:spPr>
                <a:xfrm>
                  <a:off x="4080889" y="5208287"/>
                  <a:ext cx="979841" cy="141561"/>
                </a:xfrm>
                <a:custGeom>
                  <a:avLst/>
                  <a:gdLst/>
                  <a:ahLst/>
                  <a:cxnLst/>
                  <a:rect l="l" t="t" r="r" b="b"/>
                  <a:pathLst>
                    <a:path w="1402254" h="202589">
                      <a:moveTo>
                        <a:pt x="1327165" y="0"/>
                      </a:moveTo>
                      <a:cubicBezTo>
                        <a:pt x="1345502" y="29113"/>
                        <a:pt x="1402254" y="67305"/>
                        <a:pt x="1402254" y="85604"/>
                      </a:cubicBezTo>
                      <a:cubicBezTo>
                        <a:pt x="1402254" y="94165"/>
                        <a:pt x="1389065" y="102342"/>
                        <a:pt x="1373510" y="111338"/>
                      </a:cubicBezTo>
                      <a:lnTo>
                        <a:pt x="68561" y="202589"/>
                      </a:lnTo>
                      <a:cubicBezTo>
                        <a:pt x="60713" y="175951"/>
                        <a:pt x="-3772" y="139763"/>
                        <a:pt x="174" y="116084"/>
                      </a:cubicBezTo>
                      <a:cubicBezTo>
                        <a:pt x="1332" y="109136"/>
                        <a:pt x="7527" y="100699"/>
                        <a:pt x="16039" y="91683"/>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08" name="Freeform 107"/>
                <p:cNvSpPr/>
                <p:nvPr/>
              </p:nvSpPr>
              <p:spPr>
                <a:xfrm>
                  <a:off x="4336590" y="5852030"/>
                  <a:ext cx="470337" cy="95190"/>
                </a:xfrm>
                <a:custGeom>
                  <a:avLst/>
                  <a:gdLst>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325"/>
                    <a:gd name="connsiteX1" fmla="*/ 241300 w 673100"/>
                    <a:gd name="connsiteY1" fmla="*/ 121920 h 127325"/>
                    <a:gd name="connsiteX2" fmla="*/ 434340 w 673100"/>
                    <a:gd name="connsiteY2" fmla="*/ 127000 h 127325"/>
                    <a:gd name="connsiteX3" fmla="*/ 673100 w 673100"/>
                    <a:gd name="connsiteY3" fmla="*/ 0 h 127325"/>
                    <a:gd name="connsiteX4" fmla="*/ 0 w 673100"/>
                    <a:gd name="connsiteY4" fmla="*/ 5080 h 127325"/>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4622"/>
                    <a:gd name="connsiteX1" fmla="*/ 241300 w 673100"/>
                    <a:gd name="connsiteY1" fmla="*/ 121920 h 134622"/>
                    <a:gd name="connsiteX2" fmla="*/ 434340 w 673100"/>
                    <a:gd name="connsiteY2" fmla="*/ 127000 h 134622"/>
                    <a:gd name="connsiteX3" fmla="*/ 673100 w 673100"/>
                    <a:gd name="connsiteY3" fmla="*/ 0 h 134622"/>
                    <a:gd name="connsiteX4" fmla="*/ 0 w 673100"/>
                    <a:gd name="connsiteY4" fmla="*/ 5080 h 134622"/>
                    <a:gd name="connsiteX0" fmla="*/ 0 w 673100"/>
                    <a:gd name="connsiteY0" fmla="*/ 5080 h 136227"/>
                    <a:gd name="connsiteX1" fmla="*/ 241300 w 673100"/>
                    <a:gd name="connsiteY1" fmla="*/ 121920 h 136227"/>
                    <a:gd name="connsiteX2" fmla="*/ 434340 w 673100"/>
                    <a:gd name="connsiteY2" fmla="*/ 127000 h 136227"/>
                    <a:gd name="connsiteX3" fmla="*/ 673100 w 673100"/>
                    <a:gd name="connsiteY3" fmla="*/ 0 h 136227"/>
                    <a:gd name="connsiteX4" fmla="*/ 0 w 673100"/>
                    <a:gd name="connsiteY4" fmla="*/ 5080 h 136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00" h="136227">
                      <a:moveTo>
                        <a:pt x="0" y="5080"/>
                      </a:moveTo>
                      <a:cubicBezTo>
                        <a:pt x="423" y="32597"/>
                        <a:pt x="226483" y="106892"/>
                        <a:pt x="241300" y="121920"/>
                      </a:cubicBezTo>
                      <a:cubicBezTo>
                        <a:pt x="256117" y="136948"/>
                        <a:pt x="421428" y="142452"/>
                        <a:pt x="434340" y="127000"/>
                      </a:cubicBezTo>
                      <a:cubicBezTo>
                        <a:pt x="447252" y="111548"/>
                        <a:pt x="671618" y="23283"/>
                        <a:pt x="673100" y="0"/>
                      </a:cubicBezTo>
                      <a:lnTo>
                        <a:pt x="0" y="508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102" name="Oval 101"/>
              <p:cNvSpPr/>
              <p:nvPr/>
            </p:nvSpPr>
            <p:spPr>
              <a:xfrm rot="19080000" flipH="1">
                <a:off x="3521505" y="2435407"/>
                <a:ext cx="890063" cy="265634"/>
              </a:xfrm>
              <a:prstGeom prst="ellipse">
                <a:avLst/>
              </a:prstGeom>
              <a:gradFill flip="none" rotWithShape="1">
                <a:gsLst>
                  <a:gs pos="28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98" name="Oval 97"/>
            <p:cNvSpPr/>
            <p:nvPr/>
          </p:nvSpPr>
          <p:spPr>
            <a:xfrm>
              <a:off x="6247117" y="2512770"/>
              <a:ext cx="1162056" cy="1079812"/>
            </a:xfrm>
            <a:prstGeom prst="ellipse">
              <a:avLst/>
            </a:prstGeom>
            <a:gradFill flip="none" rotWithShape="1">
              <a:gsLst>
                <a:gs pos="32000">
                  <a:srgbClr val="00B0F0"/>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ysClr val="window" lastClr="FFFFFF"/>
                </a:solidFill>
                <a:latin typeface="Arial" panose="020B0604020202020204" pitchFamily="34" charset="0"/>
                <a:cs typeface="Arial" panose="020B0604020202020204" pitchFamily="34" charset="0"/>
              </a:endParaRPr>
            </a:p>
          </p:txBody>
        </p:sp>
      </p:grpSp>
      <p:grpSp>
        <p:nvGrpSpPr>
          <p:cNvPr id="118" name="Group 117"/>
          <p:cNvGrpSpPr/>
          <p:nvPr userDrawn="1"/>
        </p:nvGrpSpPr>
        <p:grpSpPr>
          <a:xfrm rot="5785292">
            <a:off x="5576692" y="1941232"/>
            <a:ext cx="588708" cy="1040024"/>
            <a:chOff x="5869118" y="1864852"/>
            <a:chExt cx="1875650" cy="3313563"/>
          </a:xfrm>
        </p:grpSpPr>
        <p:grpSp>
          <p:nvGrpSpPr>
            <p:cNvPr id="119" name="Group 118"/>
            <p:cNvGrpSpPr/>
            <p:nvPr/>
          </p:nvGrpSpPr>
          <p:grpSpPr>
            <a:xfrm>
              <a:off x="5869118" y="1864852"/>
              <a:ext cx="1875650" cy="3313563"/>
              <a:chOff x="3509193" y="2208611"/>
              <a:chExt cx="2116248" cy="3738609"/>
            </a:xfrm>
          </p:grpSpPr>
          <p:sp>
            <p:nvSpPr>
              <p:cNvPr id="121" name="Freeform 120"/>
              <p:cNvSpPr/>
              <p:nvPr/>
            </p:nvSpPr>
            <p:spPr>
              <a:xfrm>
                <a:off x="3509193" y="2208611"/>
                <a:ext cx="2116248" cy="2832368"/>
              </a:xfrm>
              <a:custGeom>
                <a:avLst/>
                <a:gdLst>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88" h="1692915">
                    <a:moveTo>
                      <a:pt x="632444" y="0"/>
                    </a:moveTo>
                    <a:cubicBezTo>
                      <a:pt x="981735" y="7"/>
                      <a:pt x="1264888" y="283165"/>
                      <a:pt x="1264888" y="632458"/>
                    </a:cubicBezTo>
                    <a:cubicBezTo>
                      <a:pt x="1264888" y="722053"/>
                      <a:pt x="1243620" y="800469"/>
                      <a:pt x="1212119" y="884292"/>
                    </a:cubicBezTo>
                    <a:cubicBezTo>
                      <a:pt x="1180618" y="968115"/>
                      <a:pt x="1050676" y="1160843"/>
                      <a:pt x="1026175" y="1272920"/>
                    </a:cubicBezTo>
                    <a:cubicBezTo>
                      <a:pt x="1001674" y="1384997"/>
                      <a:pt x="991603" y="1515490"/>
                      <a:pt x="972341" y="1634870"/>
                    </a:cubicBezTo>
                    <a:cubicBezTo>
                      <a:pt x="968177" y="1660679"/>
                      <a:pt x="924730" y="1693412"/>
                      <a:pt x="888132" y="1692910"/>
                    </a:cubicBezTo>
                    <a:cubicBezTo>
                      <a:pt x="851534" y="1692408"/>
                      <a:pt x="429358" y="1692412"/>
                      <a:pt x="376023" y="1692910"/>
                    </a:cubicBezTo>
                    <a:cubicBezTo>
                      <a:pt x="322688" y="1693408"/>
                      <a:pt x="296690" y="1660741"/>
                      <a:pt x="292547" y="1635064"/>
                    </a:cubicBezTo>
                    <a:cubicBezTo>
                      <a:pt x="273285" y="1515684"/>
                      <a:pt x="263214" y="1385191"/>
                      <a:pt x="238713" y="1273114"/>
                    </a:cubicBezTo>
                    <a:cubicBezTo>
                      <a:pt x="214212" y="1161037"/>
                      <a:pt x="84270" y="968309"/>
                      <a:pt x="52769" y="884486"/>
                    </a:cubicBezTo>
                    <a:cubicBezTo>
                      <a:pt x="21268" y="800663"/>
                      <a:pt x="0" y="722247"/>
                      <a:pt x="0" y="632652"/>
                    </a:cubicBezTo>
                    <a:cubicBezTo>
                      <a:pt x="0" y="283359"/>
                      <a:pt x="283153" y="201"/>
                      <a:pt x="632444" y="194"/>
                    </a:cubicBezTo>
                    <a:lnTo>
                      <a:pt x="632444" y="0"/>
                    </a:lnTo>
                    <a:close/>
                  </a:path>
                </a:pathLst>
              </a:custGeom>
              <a:solidFill>
                <a:srgbClr val="00B0F0">
                  <a:alpha val="20000"/>
                </a:srgbClr>
              </a:solidFill>
              <a:ln>
                <a:noFill/>
              </a:ln>
              <a:effectLst/>
              <a:scene3d>
                <a:camera prst="orthographicFront">
                  <a:rot lat="0" lon="0" rev="0"/>
                </a:camera>
                <a:lightRig rig="twoPt" dir="t">
                  <a:rot lat="0" lon="0" rev="0"/>
                </a:lightRig>
              </a:scene3d>
              <a:sp3d prstMaterial="clear">
                <a:bevelT w="317500" h="1905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nvGrpSpPr>
              <p:cNvPr id="122" name="Group 121"/>
              <p:cNvGrpSpPr/>
              <p:nvPr/>
            </p:nvGrpSpPr>
            <p:grpSpPr>
              <a:xfrm>
                <a:off x="4221220" y="3554960"/>
                <a:ext cx="700181" cy="1502973"/>
                <a:chOff x="6480420" y="3161623"/>
                <a:chExt cx="813818" cy="1746901"/>
              </a:xfrm>
            </p:grpSpPr>
            <p:sp>
              <p:nvSpPr>
                <p:cNvPr id="131" name="Freeform 130"/>
                <p:cNvSpPr/>
                <p:nvPr/>
              </p:nvSpPr>
              <p:spPr>
                <a:xfrm>
                  <a:off x="6747926" y="4123689"/>
                  <a:ext cx="27850" cy="772043"/>
                </a:xfrm>
                <a:custGeom>
                  <a:avLst/>
                  <a:gdLst>
                    <a:gd name="connsiteX0" fmla="*/ 0 w 34290"/>
                    <a:gd name="connsiteY0" fmla="*/ 0 h 950595"/>
                    <a:gd name="connsiteX1" fmla="*/ 34290 w 34290"/>
                    <a:gd name="connsiteY1" fmla="*/ 950595 h 950595"/>
                  </a:gdLst>
                  <a:ahLst/>
                  <a:cxnLst>
                    <a:cxn ang="0">
                      <a:pos x="connsiteX0" y="connsiteY0"/>
                    </a:cxn>
                    <a:cxn ang="0">
                      <a:pos x="connsiteX1" y="connsiteY1"/>
                    </a:cxn>
                  </a:cxnLst>
                  <a:rect l="l" t="t" r="r" b="b"/>
                  <a:pathLst>
                    <a:path w="34290" h="950595">
                      <a:moveTo>
                        <a:pt x="0" y="0"/>
                      </a:moveTo>
                      <a:lnTo>
                        <a:pt x="34290" y="950595"/>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32" name="Freeform 131"/>
                <p:cNvSpPr/>
                <p:nvPr/>
              </p:nvSpPr>
              <p:spPr>
                <a:xfrm>
                  <a:off x="7003162" y="4123690"/>
                  <a:ext cx="21660" cy="770496"/>
                </a:xfrm>
                <a:custGeom>
                  <a:avLst/>
                  <a:gdLst>
                    <a:gd name="connsiteX0" fmla="*/ 26670 w 26670"/>
                    <a:gd name="connsiteY0" fmla="*/ 0 h 948690"/>
                    <a:gd name="connsiteX1" fmla="*/ 0 w 26670"/>
                    <a:gd name="connsiteY1" fmla="*/ 948690 h 948690"/>
                  </a:gdLst>
                  <a:ahLst/>
                  <a:cxnLst>
                    <a:cxn ang="0">
                      <a:pos x="connsiteX0" y="connsiteY0"/>
                    </a:cxn>
                    <a:cxn ang="0">
                      <a:pos x="connsiteX1" y="connsiteY1"/>
                    </a:cxn>
                  </a:cxnLst>
                  <a:rect l="l" t="t" r="r" b="b"/>
                  <a:pathLst>
                    <a:path w="26670" h="948690">
                      <a:moveTo>
                        <a:pt x="26670" y="0"/>
                      </a:moveTo>
                      <a:lnTo>
                        <a:pt x="0" y="948690"/>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33" name="Freeform 132"/>
                <p:cNvSpPr/>
                <p:nvPr/>
              </p:nvSpPr>
              <p:spPr>
                <a:xfrm>
                  <a:off x="6672271" y="3166397"/>
                  <a:ext cx="120681" cy="521400"/>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123 w 148713"/>
                    <a:gd name="connsiteY0" fmla="*/ 0 h 641985"/>
                    <a:gd name="connsiteX1" fmla="*/ 3933 w 148713"/>
                    <a:gd name="connsiteY1" fmla="*/ 110490 h 641985"/>
                    <a:gd name="connsiteX2" fmla="*/ 34413 w 148713"/>
                    <a:gd name="connsiteY2" fmla="*/ 129540 h 641985"/>
                    <a:gd name="connsiteX3" fmla="*/ 57273 w 148713"/>
                    <a:gd name="connsiteY3" fmla="*/ 87630 h 641985"/>
                    <a:gd name="connsiteX4" fmla="*/ 30603 w 148713"/>
                    <a:gd name="connsiteY4" fmla="*/ 57150 h 641985"/>
                    <a:gd name="connsiteX5" fmla="*/ 15363 w 148713"/>
                    <a:gd name="connsiteY5" fmla="*/ 144780 h 641985"/>
                    <a:gd name="connsiteX6" fmla="*/ 148713 w 148713"/>
                    <a:gd name="connsiteY6" fmla="*/ 641985 h 641985"/>
                    <a:gd name="connsiteX0" fmla="*/ 0 w 148590"/>
                    <a:gd name="connsiteY0" fmla="*/ 0 h 641985"/>
                    <a:gd name="connsiteX1" fmla="*/ 3810 w 148590"/>
                    <a:gd name="connsiteY1" fmla="*/ 110490 h 641985"/>
                    <a:gd name="connsiteX2" fmla="*/ 34290 w 148590"/>
                    <a:gd name="connsiteY2" fmla="*/ 129540 h 641985"/>
                    <a:gd name="connsiteX3" fmla="*/ 57150 w 148590"/>
                    <a:gd name="connsiteY3" fmla="*/ 87630 h 641985"/>
                    <a:gd name="connsiteX4" fmla="*/ 30480 w 148590"/>
                    <a:gd name="connsiteY4" fmla="*/ 57150 h 641985"/>
                    <a:gd name="connsiteX5" fmla="*/ 15240 w 148590"/>
                    <a:gd name="connsiteY5" fmla="*/ 144780 h 641985"/>
                    <a:gd name="connsiteX6" fmla="*/ 148590 w 148590"/>
                    <a:gd name="connsiteY6" fmla="*/ 641985 h 64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 h="641985">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931" y="57677"/>
                        <a:pt x="30480" y="57150"/>
                      </a:cubicBezTo>
                      <a:cubicBezTo>
                        <a:pt x="8255" y="56515"/>
                        <a:pt x="-4445" y="47308"/>
                        <a:pt x="15240" y="144780"/>
                      </a:cubicBezTo>
                      <a:cubicBezTo>
                        <a:pt x="34925" y="242253"/>
                        <a:pt x="104140" y="467995"/>
                        <a:pt x="148590" y="641985"/>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34" name="Freeform 133"/>
                <p:cNvSpPr/>
                <p:nvPr/>
              </p:nvSpPr>
              <p:spPr>
                <a:xfrm rot="21360000" flipH="1">
                  <a:off x="6946994" y="3161623"/>
                  <a:ext cx="116190" cy="521665"/>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061" h="642311">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877" y="55639"/>
                        <a:pt x="30480" y="57150"/>
                      </a:cubicBezTo>
                      <a:cubicBezTo>
                        <a:pt x="6441" y="59125"/>
                        <a:pt x="-3523" y="47253"/>
                        <a:pt x="15240" y="144780"/>
                      </a:cubicBezTo>
                      <a:cubicBezTo>
                        <a:pt x="34003" y="242307"/>
                        <a:pt x="98611" y="468321"/>
                        <a:pt x="143061" y="642311"/>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35" name="Freeform 134"/>
                <p:cNvSpPr/>
                <p:nvPr/>
              </p:nvSpPr>
              <p:spPr>
                <a:xfrm>
                  <a:off x="6480420" y="3237725"/>
                  <a:ext cx="812786" cy="82516"/>
                </a:xfrm>
                <a:custGeom>
                  <a:avLst/>
                  <a:gdLst>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1000760" h="101600">
                      <a:moveTo>
                        <a:pt x="0" y="86360"/>
                      </a:moveTo>
                      <a:cubicBezTo>
                        <a:pt x="143087" y="92287"/>
                        <a:pt x="174413" y="55033"/>
                        <a:pt x="261620" y="5080"/>
                      </a:cubicBezTo>
                      <a:cubicBezTo>
                        <a:pt x="395393" y="33867"/>
                        <a:pt x="516467" y="37253"/>
                        <a:pt x="662940" y="0"/>
                      </a:cubicBezTo>
                      <a:cubicBezTo>
                        <a:pt x="813647" y="69427"/>
                        <a:pt x="865293" y="90593"/>
                        <a:pt x="1000760" y="101600"/>
                      </a:cubicBezTo>
                    </a:path>
                  </a:pathLst>
                </a:custGeom>
                <a:noFill/>
                <a:ln w="19050" cap="rnd" cmpd="sng">
                  <a:solidFill>
                    <a:schemeClr val="tx1">
                      <a:lumMod val="50000"/>
                      <a:lumOff val="50000"/>
                    </a:schemeClr>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36" name="Freeform 135"/>
                <p:cNvSpPr/>
                <p:nvPr/>
              </p:nvSpPr>
              <p:spPr>
                <a:xfrm flipH="1">
                  <a:off x="6678460" y="3749170"/>
                  <a:ext cx="412581" cy="1159354"/>
                </a:xfrm>
                <a:custGeom>
                  <a:avLst/>
                  <a:gdLst/>
                  <a:ahLst/>
                  <a:cxnLst/>
                  <a:rect l="l" t="t" r="r" b="b"/>
                  <a:pathLst>
                    <a:path w="508000" h="1427480">
                      <a:moveTo>
                        <a:pt x="254000" y="647700"/>
                      </a:moveTo>
                      <a:cubicBezTo>
                        <a:pt x="294681" y="647700"/>
                        <a:pt x="327660" y="680679"/>
                        <a:pt x="327660" y="721360"/>
                      </a:cubicBezTo>
                      <a:cubicBezTo>
                        <a:pt x="327660" y="762041"/>
                        <a:pt x="294681" y="795020"/>
                        <a:pt x="254000" y="795020"/>
                      </a:cubicBezTo>
                      <a:cubicBezTo>
                        <a:pt x="213319" y="795020"/>
                        <a:pt x="180340" y="762041"/>
                        <a:pt x="180340" y="721360"/>
                      </a:cubicBezTo>
                      <a:cubicBezTo>
                        <a:pt x="180340" y="680679"/>
                        <a:pt x="213319" y="647700"/>
                        <a:pt x="254000" y="647700"/>
                      </a:cubicBezTo>
                      <a:close/>
                      <a:moveTo>
                        <a:pt x="325120" y="0"/>
                      </a:moveTo>
                      <a:lnTo>
                        <a:pt x="254000" y="2453"/>
                      </a:lnTo>
                      <a:lnTo>
                        <a:pt x="182880" y="0"/>
                      </a:lnTo>
                      <a:lnTo>
                        <a:pt x="182880" y="375920"/>
                      </a:lnTo>
                      <a:cubicBezTo>
                        <a:pt x="178647" y="395393"/>
                        <a:pt x="191135" y="416348"/>
                        <a:pt x="170180" y="434340"/>
                      </a:cubicBezTo>
                      <a:cubicBezTo>
                        <a:pt x="149225" y="452332"/>
                        <a:pt x="11007" y="447040"/>
                        <a:pt x="10160" y="551180"/>
                      </a:cubicBezTo>
                      <a:cubicBezTo>
                        <a:pt x="9313" y="655320"/>
                        <a:pt x="53975" y="768138"/>
                        <a:pt x="53340" y="817880"/>
                      </a:cubicBezTo>
                      <a:cubicBezTo>
                        <a:pt x="52705" y="867622"/>
                        <a:pt x="0" y="937472"/>
                        <a:pt x="0" y="995680"/>
                      </a:cubicBezTo>
                      <a:lnTo>
                        <a:pt x="0" y="1427480"/>
                      </a:lnTo>
                      <a:lnTo>
                        <a:pt x="254000" y="1427480"/>
                      </a:lnTo>
                      <a:lnTo>
                        <a:pt x="508000" y="1427480"/>
                      </a:lnTo>
                      <a:lnTo>
                        <a:pt x="508000" y="995680"/>
                      </a:lnTo>
                      <a:cubicBezTo>
                        <a:pt x="508000" y="937472"/>
                        <a:pt x="455295" y="867622"/>
                        <a:pt x="454660" y="817880"/>
                      </a:cubicBezTo>
                      <a:cubicBezTo>
                        <a:pt x="454025" y="768138"/>
                        <a:pt x="498687" y="655320"/>
                        <a:pt x="497840" y="551180"/>
                      </a:cubicBezTo>
                      <a:cubicBezTo>
                        <a:pt x="496993" y="447040"/>
                        <a:pt x="358775" y="452332"/>
                        <a:pt x="337820" y="434340"/>
                      </a:cubicBezTo>
                      <a:cubicBezTo>
                        <a:pt x="316865" y="416348"/>
                        <a:pt x="329353" y="395393"/>
                        <a:pt x="325120" y="375920"/>
                      </a:cubicBezTo>
                      <a:close/>
                    </a:path>
                  </a:pathLst>
                </a:custGeom>
                <a:solidFill>
                  <a:schemeClr val="bg1">
                    <a:alpha val="20000"/>
                  </a:schemeClr>
                </a:solidFill>
                <a:ln>
                  <a:noFill/>
                </a:ln>
                <a:effectLst/>
                <a:scene3d>
                  <a:camera prst="orthographicFront">
                    <a:rot lat="0" lon="0" rev="0"/>
                  </a:camera>
                  <a:lightRig rig="chilly" dir="t"/>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37" name="Freeform 136"/>
                <p:cNvSpPr/>
                <p:nvPr/>
              </p:nvSpPr>
              <p:spPr>
                <a:xfrm>
                  <a:off x="6480420"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38" name="Freeform 137"/>
                <p:cNvSpPr/>
                <p:nvPr/>
              </p:nvSpPr>
              <p:spPr>
                <a:xfrm flipH="1">
                  <a:off x="7028123"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39" name="Rounded Rectangle 138"/>
                <p:cNvSpPr/>
                <p:nvPr/>
              </p:nvSpPr>
              <p:spPr>
                <a:xfrm>
                  <a:off x="6771291" y="3686870"/>
                  <a:ext cx="222795" cy="61888"/>
                </a:xfrm>
                <a:prstGeom prst="roundRect">
                  <a:avLst>
                    <a:gd name="adj" fmla="val 50000"/>
                  </a:avLst>
                </a:prstGeom>
                <a:solidFill>
                  <a:schemeClr val="bg1">
                    <a:alpha val="2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grpSp>
            <p:nvGrpSpPr>
              <p:cNvPr id="123" name="Group 122"/>
              <p:cNvGrpSpPr/>
              <p:nvPr/>
            </p:nvGrpSpPr>
            <p:grpSpPr>
              <a:xfrm>
                <a:off x="4077456" y="5030272"/>
                <a:ext cx="983340" cy="916948"/>
                <a:chOff x="4077456" y="5030272"/>
                <a:chExt cx="983340" cy="916948"/>
              </a:xfrm>
            </p:grpSpPr>
            <p:sp>
              <p:nvSpPr>
                <p:cNvPr id="125" name="Freeform 124"/>
                <p:cNvSpPr/>
                <p:nvPr/>
              </p:nvSpPr>
              <p:spPr>
                <a:xfrm>
                  <a:off x="4077456" y="5030272"/>
                  <a:ext cx="983340" cy="827082"/>
                </a:xfrm>
                <a:custGeom>
                  <a:avLst/>
                  <a:gdLst>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303"/>
                    <a:gd name="connsiteY0" fmla="*/ 0 h 1183640"/>
                    <a:gd name="connsiteX1" fmla="*/ 1402080 w 1407303"/>
                    <a:gd name="connsiteY1" fmla="*/ 177800 h 1183640"/>
                    <a:gd name="connsiteX2" fmla="*/ 1325880 w 1407303"/>
                    <a:gd name="connsiteY2" fmla="*/ 238760 h 1183640"/>
                    <a:gd name="connsiteX3" fmla="*/ 1407160 w 1407303"/>
                    <a:gd name="connsiteY3" fmla="*/ 340360 h 1183640"/>
                    <a:gd name="connsiteX4" fmla="*/ 1330960 w 1407303"/>
                    <a:gd name="connsiteY4" fmla="*/ 421640 h 1183640"/>
                    <a:gd name="connsiteX5" fmla="*/ 1402080 w 1407303"/>
                    <a:gd name="connsiteY5" fmla="*/ 518160 h 1183640"/>
                    <a:gd name="connsiteX6" fmla="*/ 1325880 w 1407303"/>
                    <a:gd name="connsiteY6" fmla="*/ 589280 h 1183640"/>
                    <a:gd name="connsiteX7" fmla="*/ 1407160 w 1407303"/>
                    <a:gd name="connsiteY7" fmla="*/ 690880 h 1183640"/>
                    <a:gd name="connsiteX8" fmla="*/ 1325880 w 1407303"/>
                    <a:gd name="connsiteY8" fmla="*/ 772160 h 1183640"/>
                    <a:gd name="connsiteX9" fmla="*/ 1407160 w 1407303"/>
                    <a:gd name="connsiteY9" fmla="*/ 863600 h 1183640"/>
                    <a:gd name="connsiteX10" fmla="*/ 1366520 w 1407303"/>
                    <a:gd name="connsiteY10" fmla="*/ 980440 h 1183640"/>
                    <a:gd name="connsiteX11" fmla="*/ 1036320 w 1407303"/>
                    <a:gd name="connsiteY11" fmla="*/ 1178560 h 1183640"/>
                    <a:gd name="connsiteX12" fmla="*/ 381000 w 1407303"/>
                    <a:gd name="connsiteY12" fmla="*/ 1183640 h 1183640"/>
                    <a:gd name="connsiteX13" fmla="*/ 15240 w 1407303"/>
                    <a:gd name="connsiteY13" fmla="*/ 899160 h 1183640"/>
                    <a:gd name="connsiteX14" fmla="*/ 71120 w 1407303"/>
                    <a:gd name="connsiteY14" fmla="*/ 812800 h 1183640"/>
                    <a:gd name="connsiteX15" fmla="*/ 0 w 1407303"/>
                    <a:gd name="connsiteY15" fmla="*/ 736600 h 1183640"/>
                    <a:gd name="connsiteX16" fmla="*/ 81280 w 1407303"/>
                    <a:gd name="connsiteY16" fmla="*/ 624840 h 1183640"/>
                    <a:gd name="connsiteX17" fmla="*/ 10160 w 1407303"/>
                    <a:gd name="connsiteY17" fmla="*/ 548640 h 1183640"/>
                    <a:gd name="connsiteX18" fmla="*/ 76200 w 1407303"/>
                    <a:gd name="connsiteY18" fmla="*/ 462280 h 1183640"/>
                    <a:gd name="connsiteX19" fmla="*/ 5080 w 1407303"/>
                    <a:gd name="connsiteY19" fmla="*/ 370840 h 1183640"/>
                    <a:gd name="connsiteX20" fmla="*/ 81280 w 1407303"/>
                    <a:gd name="connsiteY20" fmla="*/ 274320 h 1183640"/>
                    <a:gd name="connsiteX21" fmla="*/ 15240 w 1407303"/>
                    <a:gd name="connsiteY21" fmla="*/ 218440 h 1183640"/>
                    <a:gd name="connsiteX22" fmla="*/ 5080 w 1407303"/>
                    <a:gd name="connsiteY22" fmla="*/ 5080 h 1183640"/>
                    <a:gd name="connsiteX23" fmla="*/ 1402080 w 1407303"/>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9 w 1407263"/>
                    <a:gd name="connsiteY0" fmla="*/ 0 h 1183640"/>
                    <a:gd name="connsiteX1" fmla="*/ 1402089 w 1407263"/>
                    <a:gd name="connsiteY1" fmla="*/ 177800 h 1183640"/>
                    <a:gd name="connsiteX2" fmla="*/ 1325889 w 1407263"/>
                    <a:gd name="connsiteY2" fmla="*/ 238760 h 1183640"/>
                    <a:gd name="connsiteX3" fmla="*/ 1407169 w 1407263"/>
                    <a:gd name="connsiteY3" fmla="*/ 340360 h 1183640"/>
                    <a:gd name="connsiteX4" fmla="*/ 1330969 w 1407263"/>
                    <a:gd name="connsiteY4" fmla="*/ 421640 h 1183640"/>
                    <a:gd name="connsiteX5" fmla="*/ 1402089 w 1407263"/>
                    <a:gd name="connsiteY5" fmla="*/ 518160 h 1183640"/>
                    <a:gd name="connsiteX6" fmla="*/ 1325889 w 1407263"/>
                    <a:gd name="connsiteY6" fmla="*/ 589280 h 1183640"/>
                    <a:gd name="connsiteX7" fmla="*/ 1407169 w 1407263"/>
                    <a:gd name="connsiteY7" fmla="*/ 690880 h 1183640"/>
                    <a:gd name="connsiteX8" fmla="*/ 1325889 w 1407263"/>
                    <a:gd name="connsiteY8" fmla="*/ 772160 h 1183640"/>
                    <a:gd name="connsiteX9" fmla="*/ 1407169 w 1407263"/>
                    <a:gd name="connsiteY9" fmla="*/ 863600 h 1183640"/>
                    <a:gd name="connsiteX10" fmla="*/ 1366529 w 1407263"/>
                    <a:gd name="connsiteY10" fmla="*/ 980440 h 1183640"/>
                    <a:gd name="connsiteX11" fmla="*/ 1036329 w 1407263"/>
                    <a:gd name="connsiteY11" fmla="*/ 1178560 h 1183640"/>
                    <a:gd name="connsiteX12" fmla="*/ 381009 w 1407263"/>
                    <a:gd name="connsiteY12" fmla="*/ 1183640 h 1183640"/>
                    <a:gd name="connsiteX13" fmla="*/ 15249 w 1407263"/>
                    <a:gd name="connsiteY13" fmla="*/ 899160 h 1183640"/>
                    <a:gd name="connsiteX14" fmla="*/ 71129 w 1407263"/>
                    <a:gd name="connsiteY14" fmla="*/ 812800 h 1183640"/>
                    <a:gd name="connsiteX15" fmla="*/ 9 w 1407263"/>
                    <a:gd name="connsiteY15" fmla="*/ 736600 h 1183640"/>
                    <a:gd name="connsiteX16" fmla="*/ 81289 w 1407263"/>
                    <a:gd name="connsiteY16" fmla="*/ 624840 h 1183640"/>
                    <a:gd name="connsiteX17" fmla="*/ 10169 w 1407263"/>
                    <a:gd name="connsiteY17" fmla="*/ 548640 h 1183640"/>
                    <a:gd name="connsiteX18" fmla="*/ 76209 w 1407263"/>
                    <a:gd name="connsiteY18" fmla="*/ 462280 h 1183640"/>
                    <a:gd name="connsiteX19" fmla="*/ 5089 w 1407263"/>
                    <a:gd name="connsiteY19" fmla="*/ 370840 h 1183640"/>
                    <a:gd name="connsiteX20" fmla="*/ 81289 w 1407263"/>
                    <a:gd name="connsiteY20" fmla="*/ 274320 h 1183640"/>
                    <a:gd name="connsiteX21" fmla="*/ 15249 w 1407263"/>
                    <a:gd name="connsiteY21" fmla="*/ 218440 h 1183640"/>
                    <a:gd name="connsiteX22" fmla="*/ 5089 w 1407263"/>
                    <a:gd name="connsiteY22" fmla="*/ 5080 h 1183640"/>
                    <a:gd name="connsiteX23" fmla="*/ 1402089 w 1407263"/>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7627 w 1407261"/>
                    <a:gd name="connsiteY21" fmla="*/ 215900 h 1183640"/>
                    <a:gd name="connsiteX22" fmla="*/ 5087 w 1407261"/>
                    <a:gd name="connsiteY22" fmla="*/ 5080 h 1183640"/>
                    <a:gd name="connsiteX23" fmla="*/ 1402087 w 1407261"/>
                    <a:gd name="connsiteY23" fmla="*/ 0 h 118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07261" h="1183640">
                      <a:moveTo>
                        <a:pt x="1402087" y="0"/>
                      </a:moveTo>
                      <a:lnTo>
                        <a:pt x="1402087" y="177800"/>
                      </a:lnTo>
                      <a:cubicBezTo>
                        <a:pt x="1376687" y="198120"/>
                        <a:pt x="1326734" y="209973"/>
                        <a:pt x="1325887" y="238760"/>
                      </a:cubicBezTo>
                      <a:cubicBezTo>
                        <a:pt x="1325040" y="267547"/>
                        <a:pt x="1407167" y="318347"/>
                        <a:pt x="1407167" y="340360"/>
                      </a:cubicBezTo>
                      <a:cubicBezTo>
                        <a:pt x="1407167" y="362373"/>
                        <a:pt x="1319960" y="381847"/>
                        <a:pt x="1330967" y="421640"/>
                      </a:cubicBezTo>
                      <a:cubicBezTo>
                        <a:pt x="1341974" y="461433"/>
                        <a:pt x="1407167" y="494453"/>
                        <a:pt x="1402087" y="518160"/>
                      </a:cubicBezTo>
                      <a:cubicBezTo>
                        <a:pt x="1397007" y="541867"/>
                        <a:pt x="1326734" y="552873"/>
                        <a:pt x="1325887" y="589280"/>
                      </a:cubicBezTo>
                      <a:cubicBezTo>
                        <a:pt x="1325040" y="625687"/>
                        <a:pt x="1403780" y="658707"/>
                        <a:pt x="1407167" y="690880"/>
                      </a:cubicBezTo>
                      <a:cubicBezTo>
                        <a:pt x="1410554" y="723053"/>
                        <a:pt x="1321654" y="736600"/>
                        <a:pt x="1325887" y="772160"/>
                      </a:cubicBezTo>
                      <a:cubicBezTo>
                        <a:pt x="1330120" y="807720"/>
                        <a:pt x="1380074" y="833120"/>
                        <a:pt x="1407167" y="863600"/>
                      </a:cubicBezTo>
                      <a:cubicBezTo>
                        <a:pt x="1393620" y="902547"/>
                        <a:pt x="1390234" y="944880"/>
                        <a:pt x="1366527" y="980440"/>
                      </a:cubicBezTo>
                      <a:cubicBezTo>
                        <a:pt x="1342820" y="1016000"/>
                        <a:pt x="1100674" y="1145540"/>
                        <a:pt x="1036327" y="1178560"/>
                      </a:cubicBezTo>
                      <a:lnTo>
                        <a:pt x="381007" y="1183640"/>
                      </a:lnTo>
                      <a:cubicBezTo>
                        <a:pt x="200667" y="1098973"/>
                        <a:pt x="25407" y="996527"/>
                        <a:pt x="15247" y="899160"/>
                      </a:cubicBezTo>
                      <a:cubicBezTo>
                        <a:pt x="33874" y="870373"/>
                        <a:pt x="75360" y="836507"/>
                        <a:pt x="71127" y="812800"/>
                      </a:cubicBezTo>
                      <a:cubicBezTo>
                        <a:pt x="66894" y="789093"/>
                        <a:pt x="854" y="764540"/>
                        <a:pt x="7" y="736600"/>
                      </a:cubicBezTo>
                      <a:cubicBezTo>
                        <a:pt x="-840" y="708660"/>
                        <a:pt x="79594" y="654473"/>
                        <a:pt x="81287" y="624840"/>
                      </a:cubicBezTo>
                      <a:cubicBezTo>
                        <a:pt x="82980" y="595207"/>
                        <a:pt x="5934" y="581660"/>
                        <a:pt x="10167" y="548640"/>
                      </a:cubicBezTo>
                      <a:cubicBezTo>
                        <a:pt x="14400" y="515620"/>
                        <a:pt x="77054" y="488527"/>
                        <a:pt x="76207" y="462280"/>
                      </a:cubicBezTo>
                      <a:cubicBezTo>
                        <a:pt x="75360" y="436033"/>
                        <a:pt x="854" y="396240"/>
                        <a:pt x="5087" y="370840"/>
                      </a:cubicBezTo>
                      <a:cubicBezTo>
                        <a:pt x="9320" y="345440"/>
                        <a:pt x="80864" y="300143"/>
                        <a:pt x="81287" y="274320"/>
                      </a:cubicBezTo>
                      <a:cubicBezTo>
                        <a:pt x="81710" y="248497"/>
                        <a:pt x="29640" y="234527"/>
                        <a:pt x="7627" y="215900"/>
                      </a:cubicBezTo>
                      <a:cubicBezTo>
                        <a:pt x="6780" y="145627"/>
                        <a:pt x="5934" y="75353"/>
                        <a:pt x="5087" y="5080"/>
                      </a:cubicBezTo>
                      <a:lnTo>
                        <a:pt x="1402087" y="0"/>
                      </a:lnTo>
                      <a:close/>
                    </a:path>
                  </a:pathLst>
                </a:custGeom>
                <a:gradFill flip="none" rotWithShape="1">
                  <a:gsLst>
                    <a:gs pos="0">
                      <a:schemeClr val="bg1">
                        <a:lumMod val="30000"/>
                      </a:schemeClr>
                    </a:gs>
                    <a:gs pos="85000">
                      <a:schemeClr val="bg1">
                        <a:lumMod val="95000"/>
                      </a:schemeClr>
                    </a:gs>
                    <a:gs pos="42000">
                      <a:srgbClr val="B6B6B6">
                        <a:lumMod val="95000"/>
                      </a:srgbClr>
                    </a:gs>
                    <a:gs pos="70000">
                      <a:schemeClr val="bg1">
                        <a:lumMod val="66000"/>
                      </a:schemeClr>
                    </a:gs>
                    <a:gs pos="100000">
                      <a:schemeClr val="bg1">
                        <a:lumMod val="3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26" name="Freeform 125"/>
                <p:cNvSpPr/>
                <p:nvPr/>
              </p:nvSpPr>
              <p:spPr>
                <a:xfrm>
                  <a:off x="4088110" y="5582219"/>
                  <a:ext cx="972621" cy="141683"/>
                </a:xfrm>
                <a:custGeom>
                  <a:avLst/>
                  <a:gdLst/>
                  <a:ahLst/>
                  <a:cxnLst/>
                  <a:rect l="l" t="t" r="r" b="b"/>
                  <a:pathLst>
                    <a:path w="1391920" h="202763">
                      <a:moveTo>
                        <a:pt x="1319213" y="0"/>
                      </a:moveTo>
                      <a:cubicBezTo>
                        <a:pt x="1334296" y="26053"/>
                        <a:pt x="1370352" y="47098"/>
                        <a:pt x="1391920" y="71362"/>
                      </a:cubicBezTo>
                      <a:lnTo>
                        <a:pt x="1381165" y="110247"/>
                      </a:lnTo>
                      <a:lnTo>
                        <a:pt x="58123" y="202763"/>
                      </a:lnTo>
                      <a:cubicBezTo>
                        <a:pt x="24364" y="171244"/>
                        <a:pt x="3328" y="138811"/>
                        <a:pt x="0" y="106922"/>
                      </a:cubicBezTo>
                      <a:lnTo>
                        <a:pt x="11949" y="9141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27" name="Freeform 126"/>
                <p:cNvSpPr/>
                <p:nvPr/>
              </p:nvSpPr>
              <p:spPr>
                <a:xfrm>
                  <a:off x="4077456" y="5459198"/>
                  <a:ext cx="983340" cy="141952"/>
                </a:xfrm>
                <a:custGeom>
                  <a:avLst/>
                  <a:gdLst/>
                  <a:ahLst/>
                  <a:cxnLst/>
                  <a:rect l="l" t="t" r="r" b="b"/>
                  <a:pathLst>
                    <a:path w="1407261" h="203148">
                      <a:moveTo>
                        <a:pt x="1336797" y="0"/>
                      </a:moveTo>
                      <a:cubicBezTo>
                        <a:pt x="1357661" y="27201"/>
                        <a:pt x="1404570" y="52371"/>
                        <a:pt x="1407167" y="77042"/>
                      </a:cubicBezTo>
                      <a:cubicBezTo>
                        <a:pt x="1408668" y="91297"/>
                        <a:pt x="1392052" y="101895"/>
                        <a:pt x="1373255" y="112030"/>
                      </a:cubicBezTo>
                      <a:lnTo>
                        <a:pt x="70196" y="203148"/>
                      </a:lnTo>
                      <a:cubicBezTo>
                        <a:pt x="71464" y="201748"/>
                        <a:pt x="71373" y="200338"/>
                        <a:pt x="71127" y="198962"/>
                      </a:cubicBezTo>
                      <a:cubicBezTo>
                        <a:pt x="66894" y="175255"/>
                        <a:pt x="854" y="150702"/>
                        <a:pt x="7" y="122762"/>
                      </a:cubicBezTo>
                      <a:cubicBezTo>
                        <a:pt x="-246" y="114413"/>
                        <a:pt x="6760" y="103719"/>
                        <a:pt x="17044" y="92286"/>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28" name="Freeform 127"/>
                <p:cNvSpPr/>
                <p:nvPr/>
              </p:nvSpPr>
              <p:spPr>
                <a:xfrm>
                  <a:off x="4084442" y="5334842"/>
                  <a:ext cx="972935" cy="141885"/>
                </a:xfrm>
                <a:custGeom>
                  <a:avLst/>
                  <a:gdLst/>
                  <a:ahLst/>
                  <a:cxnLst/>
                  <a:rect l="l" t="t" r="r" b="b"/>
                  <a:pathLst>
                    <a:path w="1392370" h="203052">
                      <a:moveTo>
                        <a:pt x="1329184" y="0"/>
                      </a:moveTo>
                      <a:cubicBezTo>
                        <a:pt x="1347693" y="33963"/>
                        <a:pt x="1396511" y="61654"/>
                        <a:pt x="1392089" y="82288"/>
                      </a:cubicBezTo>
                      <a:cubicBezTo>
                        <a:pt x="1389561" y="94086"/>
                        <a:pt x="1370889" y="102738"/>
                        <a:pt x="1352660" y="112938"/>
                      </a:cubicBezTo>
                      <a:lnTo>
                        <a:pt x="63968" y="203052"/>
                      </a:lnTo>
                      <a:cubicBezTo>
                        <a:pt x="68944" y="198570"/>
                        <a:pt x="71031" y="193484"/>
                        <a:pt x="71289" y="188968"/>
                      </a:cubicBezTo>
                      <a:cubicBezTo>
                        <a:pt x="72982" y="159335"/>
                        <a:pt x="-4064" y="145788"/>
                        <a:pt x="169" y="112768"/>
                      </a:cubicBezTo>
                      <a:lnTo>
                        <a:pt x="10766" y="9219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29" name="Freeform 128"/>
                <p:cNvSpPr/>
                <p:nvPr/>
              </p:nvSpPr>
              <p:spPr>
                <a:xfrm>
                  <a:off x="4080889" y="5208287"/>
                  <a:ext cx="979841" cy="141561"/>
                </a:xfrm>
                <a:custGeom>
                  <a:avLst/>
                  <a:gdLst/>
                  <a:ahLst/>
                  <a:cxnLst/>
                  <a:rect l="l" t="t" r="r" b="b"/>
                  <a:pathLst>
                    <a:path w="1402254" h="202589">
                      <a:moveTo>
                        <a:pt x="1327165" y="0"/>
                      </a:moveTo>
                      <a:cubicBezTo>
                        <a:pt x="1345502" y="29113"/>
                        <a:pt x="1402254" y="67305"/>
                        <a:pt x="1402254" y="85604"/>
                      </a:cubicBezTo>
                      <a:cubicBezTo>
                        <a:pt x="1402254" y="94165"/>
                        <a:pt x="1389065" y="102342"/>
                        <a:pt x="1373510" y="111338"/>
                      </a:cubicBezTo>
                      <a:lnTo>
                        <a:pt x="68561" y="202589"/>
                      </a:lnTo>
                      <a:cubicBezTo>
                        <a:pt x="60713" y="175951"/>
                        <a:pt x="-3772" y="139763"/>
                        <a:pt x="174" y="116084"/>
                      </a:cubicBezTo>
                      <a:cubicBezTo>
                        <a:pt x="1332" y="109136"/>
                        <a:pt x="7527" y="100699"/>
                        <a:pt x="16039" y="91683"/>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30" name="Freeform 129"/>
                <p:cNvSpPr/>
                <p:nvPr/>
              </p:nvSpPr>
              <p:spPr>
                <a:xfrm>
                  <a:off x="4336590" y="5852030"/>
                  <a:ext cx="470337" cy="95190"/>
                </a:xfrm>
                <a:custGeom>
                  <a:avLst/>
                  <a:gdLst>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325"/>
                    <a:gd name="connsiteX1" fmla="*/ 241300 w 673100"/>
                    <a:gd name="connsiteY1" fmla="*/ 121920 h 127325"/>
                    <a:gd name="connsiteX2" fmla="*/ 434340 w 673100"/>
                    <a:gd name="connsiteY2" fmla="*/ 127000 h 127325"/>
                    <a:gd name="connsiteX3" fmla="*/ 673100 w 673100"/>
                    <a:gd name="connsiteY3" fmla="*/ 0 h 127325"/>
                    <a:gd name="connsiteX4" fmla="*/ 0 w 673100"/>
                    <a:gd name="connsiteY4" fmla="*/ 5080 h 127325"/>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4622"/>
                    <a:gd name="connsiteX1" fmla="*/ 241300 w 673100"/>
                    <a:gd name="connsiteY1" fmla="*/ 121920 h 134622"/>
                    <a:gd name="connsiteX2" fmla="*/ 434340 w 673100"/>
                    <a:gd name="connsiteY2" fmla="*/ 127000 h 134622"/>
                    <a:gd name="connsiteX3" fmla="*/ 673100 w 673100"/>
                    <a:gd name="connsiteY3" fmla="*/ 0 h 134622"/>
                    <a:gd name="connsiteX4" fmla="*/ 0 w 673100"/>
                    <a:gd name="connsiteY4" fmla="*/ 5080 h 134622"/>
                    <a:gd name="connsiteX0" fmla="*/ 0 w 673100"/>
                    <a:gd name="connsiteY0" fmla="*/ 5080 h 136227"/>
                    <a:gd name="connsiteX1" fmla="*/ 241300 w 673100"/>
                    <a:gd name="connsiteY1" fmla="*/ 121920 h 136227"/>
                    <a:gd name="connsiteX2" fmla="*/ 434340 w 673100"/>
                    <a:gd name="connsiteY2" fmla="*/ 127000 h 136227"/>
                    <a:gd name="connsiteX3" fmla="*/ 673100 w 673100"/>
                    <a:gd name="connsiteY3" fmla="*/ 0 h 136227"/>
                    <a:gd name="connsiteX4" fmla="*/ 0 w 673100"/>
                    <a:gd name="connsiteY4" fmla="*/ 5080 h 136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00" h="136227">
                      <a:moveTo>
                        <a:pt x="0" y="5080"/>
                      </a:moveTo>
                      <a:cubicBezTo>
                        <a:pt x="423" y="32597"/>
                        <a:pt x="226483" y="106892"/>
                        <a:pt x="241300" y="121920"/>
                      </a:cubicBezTo>
                      <a:cubicBezTo>
                        <a:pt x="256117" y="136948"/>
                        <a:pt x="421428" y="142452"/>
                        <a:pt x="434340" y="127000"/>
                      </a:cubicBezTo>
                      <a:cubicBezTo>
                        <a:pt x="447252" y="111548"/>
                        <a:pt x="671618" y="23283"/>
                        <a:pt x="673100" y="0"/>
                      </a:cubicBezTo>
                      <a:lnTo>
                        <a:pt x="0" y="508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124" name="Oval 123"/>
              <p:cNvSpPr/>
              <p:nvPr/>
            </p:nvSpPr>
            <p:spPr>
              <a:xfrm rot="19080000" flipH="1">
                <a:off x="3521505" y="2435407"/>
                <a:ext cx="890063" cy="265634"/>
              </a:xfrm>
              <a:prstGeom prst="ellipse">
                <a:avLst/>
              </a:prstGeom>
              <a:gradFill flip="none" rotWithShape="1">
                <a:gsLst>
                  <a:gs pos="28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120" name="Oval 119"/>
            <p:cNvSpPr/>
            <p:nvPr/>
          </p:nvSpPr>
          <p:spPr>
            <a:xfrm>
              <a:off x="6247117" y="2512770"/>
              <a:ext cx="1162056" cy="1079812"/>
            </a:xfrm>
            <a:prstGeom prst="ellipse">
              <a:avLst/>
            </a:prstGeom>
            <a:gradFill flip="none" rotWithShape="1">
              <a:gsLst>
                <a:gs pos="32000">
                  <a:srgbClr val="00B0F0"/>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ysClr val="window" lastClr="FFFFFF"/>
                </a:solidFill>
                <a:latin typeface="Arial" panose="020B0604020202020204" pitchFamily="34" charset="0"/>
                <a:cs typeface="Arial" panose="020B0604020202020204" pitchFamily="34" charset="0"/>
              </a:endParaRPr>
            </a:p>
          </p:txBody>
        </p:sp>
      </p:grpSp>
      <p:grpSp>
        <p:nvGrpSpPr>
          <p:cNvPr id="140" name="Group 139"/>
          <p:cNvGrpSpPr/>
          <p:nvPr userDrawn="1"/>
        </p:nvGrpSpPr>
        <p:grpSpPr>
          <a:xfrm rot="5785292">
            <a:off x="5570267" y="2780494"/>
            <a:ext cx="588708" cy="1040024"/>
            <a:chOff x="5869118" y="1864852"/>
            <a:chExt cx="1875650" cy="3313563"/>
          </a:xfrm>
        </p:grpSpPr>
        <p:grpSp>
          <p:nvGrpSpPr>
            <p:cNvPr id="141" name="Group 140"/>
            <p:cNvGrpSpPr/>
            <p:nvPr/>
          </p:nvGrpSpPr>
          <p:grpSpPr>
            <a:xfrm>
              <a:off x="5869118" y="1864852"/>
              <a:ext cx="1875650" cy="3313563"/>
              <a:chOff x="3509193" y="2208611"/>
              <a:chExt cx="2116248" cy="3738609"/>
            </a:xfrm>
          </p:grpSpPr>
          <p:sp>
            <p:nvSpPr>
              <p:cNvPr id="143" name="Freeform 142"/>
              <p:cNvSpPr/>
              <p:nvPr/>
            </p:nvSpPr>
            <p:spPr>
              <a:xfrm>
                <a:off x="3509193" y="2208611"/>
                <a:ext cx="2116248" cy="2832368"/>
              </a:xfrm>
              <a:custGeom>
                <a:avLst/>
                <a:gdLst>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88" h="1692915">
                    <a:moveTo>
                      <a:pt x="632444" y="0"/>
                    </a:moveTo>
                    <a:cubicBezTo>
                      <a:pt x="981735" y="7"/>
                      <a:pt x="1264888" y="283165"/>
                      <a:pt x="1264888" y="632458"/>
                    </a:cubicBezTo>
                    <a:cubicBezTo>
                      <a:pt x="1264888" y="722053"/>
                      <a:pt x="1243620" y="800469"/>
                      <a:pt x="1212119" y="884292"/>
                    </a:cubicBezTo>
                    <a:cubicBezTo>
                      <a:pt x="1180618" y="968115"/>
                      <a:pt x="1050676" y="1160843"/>
                      <a:pt x="1026175" y="1272920"/>
                    </a:cubicBezTo>
                    <a:cubicBezTo>
                      <a:pt x="1001674" y="1384997"/>
                      <a:pt x="991603" y="1515490"/>
                      <a:pt x="972341" y="1634870"/>
                    </a:cubicBezTo>
                    <a:cubicBezTo>
                      <a:pt x="968177" y="1660679"/>
                      <a:pt x="924730" y="1693412"/>
                      <a:pt x="888132" y="1692910"/>
                    </a:cubicBezTo>
                    <a:cubicBezTo>
                      <a:pt x="851534" y="1692408"/>
                      <a:pt x="429358" y="1692412"/>
                      <a:pt x="376023" y="1692910"/>
                    </a:cubicBezTo>
                    <a:cubicBezTo>
                      <a:pt x="322688" y="1693408"/>
                      <a:pt x="296690" y="1660741"/>
                      <a:pt x="292547" y="1635064"/>
                    </a:cubicBezTo>
                    <a:cubicBezTo>
                      <a:pt x="273285" y="1515684"/>
                      <a:pt x="263214" y="1385191"/>
                      <a:pt x="238713" y="1273114"/>
                    </a:cubicBezTo>
                    <a:cubicBezTo>
                      <a:pt x="214212" y="1161037"/>
                      <a:pt x="84270" y="968309"/>
                      <a:pt x="52769" y="884486"/>
                    </a:cubicBezTo>
                    <a:cubicBezTo>
                      <a:pt x="21268" y="800663"/>
                      <a:pt x="0" y="722247"/>
                      <a:pt x="0" y="632652"/>
                    </a:cubicBezTo>
                    <a:cubicBezTo>
                      <a:pt x="0" y="283359"/>
                      <a:pt x="283153" y="201"/>
                      <a:pt x="632444" y="194"/>
                    </a:cubicBezTo>
                    <a:lnTo>
                      <a:pt x="632444" y="0"/>
                    </a:lnTo>
                    <a:close/>
                  </a:path>
                </a:pathLst>
              </a:custGeom>
              <a:solidFill>
                <a:srgbClr val="00B0F0">
                  <a:alpha val="20000"/>
                </a:srgbClr>
              </a:solidFill>
              <a:ln>
                <a:noFill/>
              </a:ln>
              <a:effectLst/>
              <a:scene3d>
                <a:camera prst="orthographicFront">
                  <a:rot lat="0" lon="0" rev="0"/>
                </a:camera>
                <a:lightRig rig="twoPt" dir="t">
                  <a:rot lat="0" lon="0" rev="0"/>
                </a:lightRig>
              </a:scene3d>
              <a:sp3d prstMaterial="clear">
                <a:bevelT w="317500" h="1905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nvGrpSpPr>
              <p:cNvPr id="144" name="Group 143"/>
              <p:cNvGrpSpPr/>
              <p:nvPr/>
            </p:nvGrpSpPr>
            <p:grpSpPr>
              <a:xfrm>
                <a:off x="4221220" y="3554960"/>
                <a:ext cx="700181" cy="1502973"/>
                <a:chOff x="6480420" y="3161623"/>
                <a:chExt cx="813818" cy="1746901"/>
              </a:xfrm>
            </p:grpSpPr>
            <p:sp>
              <p:nvSpPr>
                <p:cNvPr id="153" name="Freeform 152"/>
                <p:cNvSpPr/>
                <p:nvPr/>
              </p:nvSpPr>
              <p:spPr>
                <a:xfrm>
                  <a:off x="6747926" y="4123689"/>
                  <a:ext cx="27850" cy="772043"/>
                </a:xfrm>
                <a:custGeom>
                  <a:avLst/>
                  <a:gdLst>
                    <a:gd name="connsiteX0" fmla="*/ 0 w 34290"/>
                    <a:gd name="connsiteY0" fmla="*/ 0 h 950595"/>
                    <a:gd name="connsiteX1" fmla="*/ 34290 w 34290"/>
                    <a:gd name="connsiteY1" fmla="*/ 950595 h 950595"/>
                  </a:gdLst>
                  <a:ahLst/>
                  <a:cxnLst>
                    <a:cxn ang="0">
                      <a:pos x="connsiteX0" y="connsiteY0"/>
                    </a:cxn>
                    <a:cxn ang="0">
                      <a:pos x="connsiteX1" y="connsiteY1"/>
                    </a:cxn>
                  </a:cxnLst>
                  <a:rect l="l" t="t" r="r" b="b"/>
                  <a:pathLst>
                    <a:path w="34290" h="950595">
                      <a:moveTo>
                        <a:pt x="0" y="0"/>
                      </a:moveTo>
                      <a:lnTo>
                        <a:pt x="34290" y="950595"/>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54" name="Freeform 153"/>
                <p:cNvSpPr/>
                <p:nvPr/>
              </p:nvSpPr>
              <p:spPr>
                <a:xfrm>
                  <a:off x="7003162" y="4123690"/>
                  <a:ext cx="21660" cy="770496"/>
                </a:xfrm>
                <a:custGeom>
                  <a:avLst/>
                  <a:gdLst>
                    <a:gd name="connsiteX0" fmla="*/ 26670 w 26670"/>
                    <a:gd name="connsiteY0" fmla="*/ 0 h 948690"/>
                    <a:gd name="connsiteX1" fmla="*/ 0 w 26670"/>
                    <a:gd name="connsiteY1" fmla="*/ 948690 h 948690"/>
                  </a:gdLst>
                  <a:ahLst/>
                  <a:cxnLst>
                    <a:cxn ang="0">
                      <a:pos x="connsiteX0" y="connsiteY0"/>
                    </a:cxn>
                    <a:cxn ang="0">
                      <a:pos x="connsiteX1" y="connsiteY1"/>
                    </a:cxn>
                  </a:cxnLst>
                  <a:rect l="l" t="t" r="r" b="b"/>
                  <a:pathLst>
                    <a:path w="26670" h="948690">
                      <a:moveTo>
                        <a:pt x="26670" y="0"/>
                      </a:moveTo>
                      <a:lnTo>
                        <a:pt x="0" y="948690"/>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55" name="Freeform 154"/>
                <p:cNvSpPr/>
                <p:nvPr/>
              </p:nvSpPr>
              <p:spPr>
                <a:xfrm>
                  <a:off x="6672271" y="3166397"/>
                  <a:ext cx="120681" cy="521400"/>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123 w 148713"/>
                    <a:gd name="connsiteY0" fmla="*/ 0 h 641985"/>
                    <a:gd name="connsiteX1" fmla="*/ 3933 w 148713"/>
                    <a:gd name="connsiteY1" fmla="*/ 110490 h 641985"/>
                    <a:gd name="connsiteX2" fmla="*/ 34413 w 148713"/>
                    <a:gd name="connsiteY2" fmla="*/ 129540 h 641985"/>
                    <a:gd name="connsiteX3" fmla="*/ 57273 w 148713"/>
                    <a:gd name="connsiteY3" fmla="*/ 87630 h 641985"/>
                    <a:gd name="connsiteX4" fmla="*/ 30603 w 148713"/>
                    <a:gd name="connsiteY4" fmla="*/ 57150 h 641985"/>
                    <a:gd name="connsiteX5" fmla="*/ 15363 w 148713"/>
                    <a:gd name="connsiteY5" fmla="*/ 144780 h 641985"/>
                    <a:gd name="connsiteX6" fmla="*/ 148713 w 148713"/>
                    <a:gd name="connsiteY6" fmla="*/ 641985 h 641985"/>
                    <a:gd name="connsiteX0" fmla="*/ 0 w 148590"/>
                    <a:gd name="connsiteY0" fmla="*/ 0 h 641985"/>
                    <a:gd name="connsiteX1" fmla="*/ 3810 w 148590"/>
                    <a:gd name="connsiteY1" fmla="*/ 110490 h 641985"/>
                    <a:gd name="connsiteX2" fmla="*/ 34290 w 148590"/>
                    <a:gd name="connsiteY2" fmla="*/ 129540 h 641985"/>
                    <a:gd name="connsiteX3" fmla="*/ 57150 w 148590"/>
                    <a:gd name="connsiteY3" fmla="*/ 87630 h 641985"/>
                    <a:gd name="connsiteX4" fmla="*/ 30480 w 148590"/>
                    <a:gd name="connsiteY4" fmla="*/ 57150 h 641985"/>
                    <a:gd name="connsiteX5" fmla="*/ 15240 w 148590"/>
                    <a:gd name="connsiteY5" fmla="*/ 144780 h 641985"/>
                    <a:gd name="connsiteX6" fmla="*/ 148590 w 148590"/>
                    <a:gd name="connsiteY6" fmla="*/ 641985 h 64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 h="641985">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931" y="57677"/>
                        <a:pt x="30480" y="57150"/>
                      </a:cubicBezTo>
                      <a:cubicBezTo>
                        <a:pt x="8255" y="56515"/>
                        <a:pt x="-4445" y="47308"/>
                        <a:pt x="15240" y="144780"/>
                      </a:cubicBezTo>
                      <a:cubicBezTo>
                        <a:pt x="34925" y="242253"/>
                        <a:pt x="104140" y="467995"/>
                        <a:pt x="148590" y="641985"/>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56" name="Freeform 155"/>
                <p:cNvSpPr/>
                <p:nvPr/>
              </p:nvSpPr>
              <p:spPr>
                <a:xfrm rot="21360000" flipH="1">
                  <a:off x="6946994" y="3161623"/>
                  <a:ext cx="116190" cy="521665"/>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061" h="642311">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877" y="55639"/>
                        <a:pt x="30480" y="57150"/>
                      </a:cubicBezTo>
                      <a:cubicBezTo>
                        <a:pt x="6441" y="59125"/>
                        <a:pt x="-3523" y="47253"/>
                        <a:pt x="15240" y="144780"/>
                      </a:cubicBezTo>
                      <a:cubicBezTo>
                        <a:pt x="34003" y="242307"/>
                        <a:pt x="98611" y="468321"/>
                        <a:pt x="143061" y="642311"/>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57" name="Freeform 156"/>
                <p:cNvSpPr/>
                <p:nvPr/>
              </p:nvSpPr>
              <p:spPr>
                <a:xfrm>
                  <a:off x="6480420" y="3237725"/>
                  <a:ext cx="812786" cy="82516"/>
                </a:xfrm>
                <a:custGeom>
                  <a:avLst/>
                  <a:gdLst>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1000760" h="101600">
                      <a:moveTo>
                        <a:pt x="0" y="86360"/>
                      </a:moveTo>
                      <a:cubicBezTo>
                        <a:pt x="143087" y="92287"/>
                        <a:pt x="174413" y="55033"/>
                        <a:pt x="261620" y="5080"/>
                      </a:cubicBezTo>
                      <a:cubicBezTo>
                        <a:pt x="395393" y="33867"/>
                        <a:pt x="516467" y="37253"/>
                        <a:pt x="662940" y="0"/>
                      </a:cubicBezTo>
                      <a:cubicBezTo>
                        <a:pt x="813647" y="69427"/>
                        <a:pt x="865293" y="90593"/>
                        <a:pt x="1000760" y="101600"/>
                      </a:cubicBezTo>
                    </a:path>
                  </a:pathLst>
                </a:custGeom>
                <a:noFill/>
                <a:ln w="19050" cap="rnd" cmpd="sng">
                  <a:solidFill>
                    <a:schemeClr val="tx1">
                      <a:lumMod val="50000"/>
                      <a:lumOff val="50000"/>
                    </a:schemeClr>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58" name="Freeform 157"/>
                <p:cNvSpPr/>
                <p:nvPr/>
              </p:nvSpPr>
              <p:spPr>
                <a:xfrm flipH="1">
                  <a:off x="6678460" y="3749170"/>
                  <a:ext cx="412581" cy="1159354"/>
                </a:xfrm>
                <a:custGeom>
                  <a:avLst/>
                  <a:gdLst/>
                  <a:ahLst/>
                  <a:cxnLst/>
                  <a:rect l="l" t="t" r="r" b="b"/>
                  <a:pathLst>
                    <a:path w="508000" h="1427480">
                      <a:moveTo>
                        <a:pt x="254000" y="647700"/>
                      </a:moveTo>
                      <a:cubicBezTo>
                        <a:pt x="294681" y="647700"/>
                        <a:pt x="327660" y="680679"/>
                        <a:pt x="327660" y="721360"/>
                      </a:cubicBezTo>
                      <a:cubicBezTo>
                        <a:pt x="327660" y="762041"/>
                        <a:pt x="294681" y="795020"/>
                        <a:pt x="254000" y="795020"/>
                      </a:cubicBezTo>
                      <a:cubicBezTo>
                        <a:pt x="213319" y="795020"/>
                        <a:pt x="180340" y="762041"/>
                        <a:pt x="180340" y="721360"/>
                      </a:cubicBezTo>
                      <a:cubicBezTo>
                        <a:pt x="180340" y="680679"/>
                        <a:pt x="213319" y="647700"/>
                        <a:pt x="254000" y="647700"/>
                      </a:cubicBezTo>
                      <a:close/>
                      <a:moveTo>
                        <a:pt x="325120" y="0"/>
                      </a:moveTo>
                      <a:lnTo>
                        <a:pt x="254000" y="2453"/>
                      </a:lnTo>
                      <a:lnTo>
                        <a:pt x="182880" y="0"/>
                      </a:lnTo>
                      <a:lnTo>
                        <a:pt x="182880" y="375920"/>
                      </a:lnTo>
                      <a:cubicBezTo>
                        <a:pt x="178647" y="395393"/>
                        <a:pt x="191135" y="416348"/>
                        <a:pt x="170180" y="434340"/>
                      </a:cubicBezTo>
                      <a:cubicBezTo>
                        <a:pt x="149225" y="452332"/>
                        <a:pt x="11007" y="447040"/>
                        <a:pt x="10160" y="551180"/>
                      </a:cubicBezTo>
                      <a:cubicBezTo>
                        <a:pt x="9313" y="655320"/>
                        <a:pt x="53975" y="768138"/>
                        <a:pt x="53340" y="817880"/>
                      </a:cubicBezTo>
                      <a:cubicBezTo>
                        <a:pt x="52705" y="867622"/>
                        <a:pt x="0" y="937472"/>
                        <a:pt x="0" y="995680"/>
                      </a:cubicBezTo>
                      <a:lnTo>
                        <a:pt x="0" y="1427480"/>
                      </a:lnTo>
                      <a:lnTo>
                        <a:pt x="254000" y="1427480"/>
                      </a:lnTo>
                      <a:lnTo>
                        <a:pt x="508000" y="1427480"/>
                      </a:lnTo>
                      <a:lnTo>
                        <a:pt x="508000" y="995680"/>
                      </a:lnTo>
                      <a:cubicBezTo>
                        <a:pt x="508000" y="937472"/>
                        <a:pt x="455295" y="867622"/>
                        <a:pt x="454660" y="817880"/>
                      </a:cubicBezTo>
                      <a:cubicBezTo>
                        <a:pt x="454025" y="768138"/>
                        <a:pt x="498687" y="655320"/>
                        <a:pt x="497840" y="551180"/>
                      </a:cubicBezTo>
                      <a:cubicBezTo>
                        <a:pt x="496993" y="447040"/>
                        <a:pt x="358775" y="452332"/>
                        <a:pt x="337820" y="434340"/>
                      </a:cubicBezTo>
                      <a:cubicBezTo>
                        <a:pt x="316865" y="416348"/>
                        <a:pt x="329353" y="395393"/>
                        <a:pt x="325120" y="375920"/>
                      </a:cubicBezTo>
                      <a:close/>
                    </a:path>
                  </a:pathLst>
                </a:custGeom>
                <a:solidFill>
                  <a:schemeClr val="bg1">
                    <a:alpha val="20000"/>
                  </a:schemeClr>
                </a:solidFill>
                <a:ln>
                  <a:noFill/>
                </a:ln>
                <a:effectLst/>
                <a:scene3d>
                  <a:camera prst="orthographicFront">
                    <a:rot lat="0" lon="0" rev="0"/>
                  </a:camera>
                  <a:lightRig rig="chilly" dir="t"/>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59" name="Freeform 158"/>
                <p:cNvSpPr/>
                <p:nvPr/>
              </p:nvSpPr>
              <p:spPr>
                <a:xfrm>
                  <a:off x="6480420"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60" name="Freeform 159"/>
                <p:cNvSpPr/>
                <p:nvPr/>
              </p:nvSpPr>
              <p:spPr>
                <a:xfrm flipH="1">
                  <a:off x="7028123"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61" name="Rounded Rectangle 160"/>
                <p:cNvSpPr/>
                <p:nvPr/>
              </p:nvSpPr>
              <p:spPr>
                <a:xfrm>
                  <a:off x="6771291" y="3686870"/>
                  <a:ext cx="222795" cy="61888"/>
                </a:xfrm>
                <a:prstGeom prst="roundRect">
                  <a:avLst>
                    <a:gd name="adj" fmla="val 50000"/>
                  </a:avLst>
                </a:prstGeom>
                <a:solidFill>
                  <a:schemeClr val="bg1">
                    <a:alpha val="2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grpSp>
            <p:nvGrpSpPr>
              <p:cNvPr id="145" name="Group 144"/>
              <p:cNvGrpSpPr/>
              <p:nvPr/>
            </p:nvGrpSpPr>
            <p:grpSpPr>
              <a:xfrm>
                <a:off x="4077456" y="5030272"/>
                <a:ext cx="983340" cy="916948"/>
                <a:chOff x="4077456" y="5030272"/>
                <a:chExt cx="983340" cy="916948"/>
              </a:xfrm>
            </p:grpSpPr>
            <p:sp>
              <p:nvSpPr>
                <p:cNvPr id="147" name="Freeform 146"/>
                <p:cNvSpPr/>
                <p:nvPr/>
              </p:nvSpPr>
              <p:spPr>
                <a:xfrm>
                  <a:off x="4077456" y="5030272"/>
                  <a:ext cx="983340" cy="827082"/>
                </a:xfrm>
                <a:custGeom>
                  <a:avLst/>
                  <a:gdLst>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303"/>
                    <a:gd name="connsiteY0" fmla="*/ 0 h 1183640"/>
                    <a:gd name="connsiteX1" fmla="*/ 1402080 w 1407303"/>
                    <a:gd name="connsiteY1" fmla="*/ 177800 h 1183640"/>
                    <a:gd name="connsiteX2" fmla="*/ 1325880 w 1407303"/>
                    <a:gd name="connsiteY2" fmla="*/ 238760 h 1183640"/>
                    <a:gd name="connsiteX3" fmla="*/ 1407160 w 1407303"/>
                    <a:gd name="connsiteY3" fmla="*/ 340360 h 1183640"/>
                    <a:gd name="connsiteX4" fmla="*/ 1330960 w 1407303"/>
                    <a:gd name="connsiteY4" fmla="*/ 421640 h 1183640"/>
                    <a:gd name="connsiteX5" fmla="*/ 1402080 w 1407303"/>
                    <a:gd name="connsiteY5" fmla="*/ 518160 h 1183640"/>
                    <a:gd name="connsiteX6" fmla="*/ 1325880 w 1407303"/>
                    <a:gd name="connsiteY6" fmla="*/ 589280 h 1183640"/>
                    <a:gd name="connsiteX7" fmla="*/ 1407160 w 1407303"/>
                    <a:gd name="connsiteY7" fmla="*/ 690880 h 1183640"/>
                    <a:gd name="connsiteX8" fmla="*/ 1325880 w 1407303"/>
                    <a:gd name="connsiteY8" fmla="*/ 772160 h 1183640"/>
                    <a:gd name="connsiteX9" fmla="*/ 1407160 w 1407303"/>
                    <a:gd name="connsiteY9" fmla="*/ 863600 h 1183640"/>
                    <a:gd name="connsiteX10" fmla="*/ 1366520 w 1407303"/>
                    <a:gd name="connsiteY10" fmla="*/ 980440 h 1183640"/>
                    <a:gd name="connsiteX11" fmla="*/ 1036320 w 1407303"/>
                    <a:gd name="connsiteY11" fmla="*/ 1178560 h 1183640"/>
                    <a:gd name="connsiteX12" fmla="*/ 381000 w 1407303"/>
                    <a:gd name="connsiteY12" fmla="*/ 1183640 h 1183640"/>
                    <a:gd name="connsiteX13" fmla="*/ 15240 w 1407303"/>
                    <a:gd name="connsiteY13" fmla="*/ 899160 h 1183640"/>
                    <a:gd name="connsiteX14" fmla="*/ 71120 w 1407303"/>
                    <a:gd name="connsiteY14" fmla="*/ 812800 h 1183640"/>
                    <a:gd name="connsiteX15" fmla="*/ 0 w 1407303"/>
                    <a:gd name="connsiteY15" fmla="*/ 736600 h 1183640"/>
                    <a:gd name="connsiteX16" fmla="*/ 81280 w 1407303"/>
                    <a:gd name="connsiteY16" fmla="*/ 624840 h 1183640"/>
                    <a:gd name="connsiteX17" fmla="*/ 10160 w 1407303"/>
                    <a:gd name="connsiteY17" fmla="*/ 548640 h 1183640"/>
                    <a:gd name="connsiteX18" fmla="*/ 76200 w 1407303"/>
                    <a:gd name="connsiteY18" fmla="*/ 462280 h 1183640"/>
                    <a:gd name="connsiteX19" fmla="*/ 5080 w 1407303"/>
                    <a:gd name="connsiteY19" fmla="*/ 370840 h 1183640"/>
                    <a:gd name="connsiteX20" fmla="*/ 81280 w 1407303"/>
                    <a:gd name="connsiteY20" fmla="*/ 274320 h 1183640"/>
                    <a:gd name="connsiteX21" fmla="*/ 15240 w 1407303"/>
                    <a:gd name="connsiteY21" fmla="*/ 218440 h 1183640"/>
                    <a:gd name="connsiteX22" fmla="*/ 5080 w 1407303"/>
                    <a:gd name="connsiteY22" fmla="*/ 5080 h 1183640"/>
                    <a:gd name="connsiteX23" fmla="*/ 1402080 w 1407303"/>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9 w 1407263"/>
                    <a:gd name="connsiteY0" fmla="*/ 0 h 1183640"/>
                    <a:gd name="connsiteX1" fmla="*/ 1402089 w 1407263"/>
                    <a:gd name="connsiteY1" fmla="*/ 177800 h 1183640"/>
                    <a:gd name="connsiteX2" fmla="*/ 1325889 w 1407263"/>
                    <a:gd name="connsiteY2" fmla="*/ 238760 h 1183640"/>
                    <a:gd name="connsiteX3" fmla="*/ 1407169 w 1407263"/>
                    <a:gd name="connsiteY3" fmla="*/ 340360 h 1183640"/>
                    <a:gd name="connsiteX4" fmla="*/ 1330969 w 1407263"/>
                    <a:gd name="connsiteY4" fmla="*/ 421640 h 1183640"/>
                    <a:gd name="connsiteX5" fmla="*/ 1402089 w 1407263"/>
                    <a:gd name="connsiteY5" fmla="*/ 518160 h 1183640"/>
                    <a:gd name="connsiteX6" fmla="*/ 1325889 w 1407263"/>
                    <a:gd name="connsiteY6" fmla="*/ 589280 h 1183640"/>
                    <a:gd name="connsiteX7" fmla="*/ 1407169 w 1407263"/>
                    <a:gd name="connsiteY7" fmla="*/ 690880 h 1183640"/>
                    <a:gd name="connsiteX8" fmla="*/ 1325889 w 1407263"/>
                    <a:gd name="connsiteY8" fmla="*/ 772160 h 1183640"/>
                    <a:gd name="connsiteX9" fmla="*/ 1407169 w 1407263"/>
                    <a:gd name="connsiteY9" fmla="*/ 863600 h 1183640"/>
                    <a:gd name="connsiteX10" fmla="*/ 1366529 w 1407263"/>
                    <a:gd name="connsiteY10" fmla="*/ 980440 h 1183640"/>
                    <a:gd name="connsiteX11" fmla="*/ 1036329 w 1407263"/>
                    <a:gd name="connsiteY11" fmla="*/ 1178560 h 1183640"/>
                    <a:gd name="connsiteX12" fmla="*/ 381009 w 1407263"/>
                    <a:gd name="connsiteY12" fmla="*/ 1183640 h 1183640"/>
                    <a:gd name="connsiteX13" fmla="*/ 15249 w 1407263"/>
                    <a:gd name="connsiteY13" fmla="*/ 899160 h 1183640"/>
                    <a:gd name="connsiteX14" fmla="*/ 71129 w 1407263"/>
                    <a:gd name="connsiteY14" fmla="*/ 812800 h 1183640"/>
                    <a:gd name="connsiteX15" fmla="*/ 9 w 1407263"/>
                    <a:gd name="connsiteY15" fmla="*/ 736600 h 1183640"/>
                    <a:gd name="connsiteX16" fmla="*/ 81289 w 1407263"/>
                    <a:gd name="connsiteY16" fmla="*/ 624840 h 1183640"/>
                    <a:gd name="connsiteX17" fmla="*/ 10169 w 1407263"/>
                    <a:gd name="connsiteY17" fmla="*/ 548640 h 1183640"/>
                    <a:gd name="connsiteX18" fmla="*/ 76209 w 1407263"/>
                    <a:gd name="connsiteY18" fmla="*/ 462280 h 1183640"/>
                    <a:gd name="connsiteX19" fmla="*/ 5089 w 1407263"/>
                    <a:gd name="connsiteY19" fmla="*/ 370840 h 1183640"/>
                    <a:gd name="connsiteX20" fmla="*/ 81289 w 1407263"/>
                    <a:gd name="connsiteY20" fmla="*/ 274320 h 1183640"/>
                    <a:gd name="connsiteX21" fmla="*/ 15249 w 1407263"/>
                    <a:gd name="connsiteY21" fmla="*/ 218440 h 1183640"/>
                    <a:gd name="connsiteX22" fmla="*/ 5089 w 1407263"/>
                    <a:gd name="connsiteY22" fmla="*/ 5080 h 1183640"/>
                    <a:gd name="connsiteX23" fmla="*/ 1402089 w 1407263"/>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7627 w 1407261"/>
                    <a:gd name="connsiteY21" fmla="*/ 215900 h 1183640"/>
                    <a:gd name="connsiteX22" fmla="*/ 5087 w 1407261"/>
                    <a:gd name="connsiteY22" fmla="*/ 5080 h 1183640"/>
                    <a:gd name="connsiteX23" fmla="*/ 1402087 w 1407261"/>
                    <a:gd name="connsiteY23" fmla="*/ 0 h 118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07261" h="1183640">
                      <a:moveTo>
                        <a:pt x="1402087" y="0"/>
                      </a:moveTo>
                      <a:lnTo>
                        <a:pt x="1402087" y="177800"/>
                      </a:lnTo>
                      <a:cubicBezTo>
                        <a:pt x="1376687" y="198120"/>
                        <a:pt x="1326734" y="209973"/>
                        <a:pt x="1325887" y="238760"/>
                      </a:cubicBezTo>
                      <a:cubicBezTo>
                        <a:pt x="1325040" y="267547"/>
                        <a:pt x="1407167" y="318347"/>
                        <a:pt x="1407167" y="340360"/>
                      </a:cubicBezTo>
                      <a:cubicBezTo>
                        <a:pt x="1407167" y="362373"/>
                        <a:pt x="1319960" y="381847"/>
                        <a:pt x="1330967" y="421640"/>
                      </a:cubicBezTo>
                      <a:cubicBezTo>
                        <a:pt x="1341974" y="461433"/>
                        <a:pt x="1407167" y="494453"/>
                        <a:pt x="1402087" y="518160"/>
                      </a:cubicBezTo>
                      <a:cubicBezTo>
                        <a:pt x="1397007" y="541867"/>
                        <a:pt x="1326734" y="552873"/>
                        <a:pt x="1325887" y="589280"/>
                      </a:cubicBezTo>
                      <a:cubicBezTo>
                        <a:pt x="1325040" y="625687"/>
                        <a:pt x="1403780" y="658707"/>
                        <a:pt x="1407167" y="690880"/>
                      </a:cubicBezTo>
                      <a:cubicBezTo>
                        <a:pt x="1410554" y="723053"/>
                        <a:pt x="1321654" y="736600"/>
                        <a:pt x="1325887" y="772160"/>
                      </a:cubicBezTo>
                      <a:cubicBezTo>
                        <a:pt x="1330120" y="807720"/>
                        <a:pt x="1380074" y="833120"/>
                        <a:pt x="1407167" y="863600"/>
                      </a:cubicBezTo>
                      <a:cubicBezTo>
                        <a:pt x="1393620" y="902547"/>
                        <a:pt x="1390234" y="944880"/>
                        <a:pt x="1366527" y="980440"/>
                      </a:cubicBezTo>
                      <a:cubicBezTo>
                        <a:pt x="1342820" y="1016000"/>
                        <a:pt x="1100674" y="1145540"/>
                        <a:pt x="1036327" y="1178560"/>
                      </a:cubicBezTo>
                      <a:lnTo>
                        <a:pt x="381007" y="1183640"/>
                      </a:lnTo>
                      <a:cubicBezTo>
                        <a:pt x="200667" y="1098973"/>
                        <a:pt x="25407" y="996527"/>
                        <a:pt x="15247" y="899160"/>
                      </a:cubicBezTo>
                      <a:cubicBezTo>
                        <a:pt x="33874" y="870373"/>
                        <a:pt x="75360" y="836507"/>
                        <a:pt x="71127" y="812800"/>
                      </a:cubicBezTo>
                      <a:cubicBezTo>
                        <a:pt x="66894" y="789093"/>
                        <a:pt x="854" y="764540"/>
                        <a:pt x="7" y="736600"/>
                      </a:cubicBezTo>
                      <a:cubicBezTo>
                        <a:pt x="-840" y="708660"/>
                        <a:pt x="79594" y="654473"/>
                        <a:pt x="81287" y="624840"/>
                      </a:cubicBezTo>
                      <a:cubicBezTo>
                        <a:pt x="82980" y="595207"/>
                        <a:pt x="5934" y="581660"/>
                        <a:pt x="10167" y="548640"/>
                      </a:cubicBezTo>
                      <a:cubicBezTo>
                        <a:pt x="14400" y="515620"/>
                        <a:pt x="77054" y="488527"/>
                        <a:pt x="76207" y="462280"/>
                      </a:cubicBezTo>
                      <a:cubicBezTo>
                        <a:pt x="75360" y="436033"/>
                        <a:pt x="854" y="396240"/>
                        <a:pt x="5087" y="370840"/>
                      </a:cubicBezTo>
                      <a:cubicBezTo>
                        <a:pt x="9320" y="345440"/>
                        <a:pt x="80864" y="300143"/>
                        <a:pt x="81287" y="274320"/>
                      </a:cubicBezTo>
                      <a:cubicBezTo>
                        <a:pt x="81710" y="248497"/>
                        <a:pt x="29640" y="234527"/>
                        <a:pt x="7627" y="215900"/>
                      </a:cubicBezTo>
                      <a:cubicBezTo>
                        <a:pt x="6780" y="145627"/>
                        <a:pt x="5934" y="75353"/>
                        <a:pt x="5087" y="5080"/>
                      </a:cubicBezTo>
                      <a:lnTo>
                        <a:pt x="1402087" y="0"/>
                      </a:lnTo>
                      <a:close/>
                    </a:path>
                  </a:pathLst>
                </a:custGeom>
                <a:gradFill flip="none" rotWithShape="1">
                  <a:gsLst>
                    <a:gs pos="0">
                      <a:schemeClr val="bg1">
                        <a:lumMod val="30000"/>
                      </a:schemeClr>
                    </a:gs>
                    <a:gs pos="85000">
                      <a:schemeClr val="bg1">
                        <a:lumMod val="95000"/>
                      </a:schemeClr>
                    </a:gs>
                    <a:gs pos="42000">
                      <a:srgbClr val="B6B6B6">
                        <a:lumMod val="95000"/>
                      </a:srgbClr>
                    </a:gs>
                    <a:gs pos="70000">
                      <a:schemeClr val="bg1">
                        <a:lumMod val="66000"/>
                      </a:schemeClr>
                    </a:gs>
                    <a:gs pos="100000">
                      <a:schemeClr val="bg1">
                        <a:lumMod val="3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48" name="Freeform 147"/>
                <p:cNvSpPr/>
                <p:nvPr/>
              </p:nvSpPr>
              <p:spPr>
                <a:xfrm>
                  <a:off x="4088110" y="5582219"/>
                  <a:ext cx="972621" cy="141683"/>
                </a:xfrm>
                <a:custGeom>
                  <a:avLst/>
                  <a:gdLst/>
                  <a:ahLst/>
                  <a:cxnLst/>
                  <a:rect l="l" t="t" r="r" b="b"/>
                  <a:pathLst>
                    <a:path w="1391920" h="202763">
                      <a:moveTo>
                        <a:pt x="1319213" y="0"/>
                      </a:moveTo>
                      <a:cubicBezTo>
                        <a:pt x="1334296" y="26053"/>
                        <a:pt x="1370352" y="47098"/>
                        <a:pt x="1391920" y="71362"/>
                      </a:cubicBezTo>
                      <a:lnTo>
                        <a:pt x="1381165" y="110247"/>
                      </a:lnTo>
                      <a:lnTo>
                        <a:pt x="58123" y="202763"/>
                      </a:lnTo>
                      <a:cubicBezTo>
                        <a:pt x="24364" y="171244"/>
                        <a:pt x="3328" y="138811"/>
                        <a:pt x="0" y="106922"/>
                      </a:cubicBezTo>
                      <a:lnTo>
                        <a:pt x="11949" y="9141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49" name="Freeform 148"/>
                <p:cNvSpPr/>
                <p:nvPr/>
              </p:nvSpPr>
              <p:spPr>
                <a:xfrm>
                  <a:off x="4077456" y="5459198"/>
                  <a:ext cx="983340" cy="141952"/>
                </a:xfrm>
                <a:custGeom>
                  <a:avLst/>
                  <a:gdLst/>
                  <a:ahLst/>
                  <a:cxnLst/>
                  <a:rect l="l" t="t" r="r" b="b"/>
                  <a:pathLst>
                    <a:path w="1407261" h="203148">
                      <a:moveTo>
                        <a:pt x="1336797" y="0"/>
                      </a:moveTo>
                      <a:cubicBezTo>
                        <a:pt x="1357661" y="27201"/>
                        <a:pt x="1404570" y="52371"/>
                        <a:pt x="1407167" y="77042"/>
                      </a:cubicBezTo>
                      <a:cubicBezTo>
                        <a:pt x="1408668" y="91297"/>
                        <a:pt x="1392052" y="101895"/>
                        <a:pt x="1373255" y="112030"/>
                      </a:cubicBezTo>
                      <a:lnTo>
                        <a:pt x="70196" y="203148"/>
                      </a:lnTo>
                      <a:cubicBezTo>
                        <a:pt x="71464" y="201748"/>
                        <a:pt x="71373" y="200338"/>
                        <a:pt x="71127" y="198962"/>
                      </a:cubicBezTo>
                      <a:cubicBezTo>
                        <a:pt x="66894" y="175255"/>
                        <a:pt x="854" y="150702"/>
                        <a:pt x="7" y="122762"/>
                      </a:cubicBezTo>
                      <a:cubicBezTo>
                        <a:pt x="-246" y="114413"/>
                        <a:pt x="6760" y="103719"/>
                        <a:pt x="17044" y="92286"/>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50" name="Freeform 149"/>
                <p:cNvSpPr/>
                <p:nvPr/>
              </p:nvSpPr>
              <p:spPr>
                <a:xfrm>
                  <a:off x="4084442" y="5334842"/>
                  <a:ext cx="972935" cy="141885"/>
                </a:xfrm>
                <a:custGeom>
                  <a:avLst/>
                  <a:gdLst/>
                  <a:ahLst/>
                  <a:cxnLst/>
                  <a:rect l="l" t="t" r="r" b="b"/>
                  <a:pathLst>
                    <a:path w="1392370" h="203052">
                      <a:moveTo>
                        <a:pt x="1329184" y="0"/>
                      </a:moveTo>
                      <a:cubicBezTo>
                        <a:pt x="1347693" y="33963"/>
                        <a:pt x="1396511" y="61654"/>
                        <a:pt x="1392089" y="82288"/>
                      </a:cubicBezTo>
                      <a:cubicBezTo>
                        <a:pt x="1389561" y="94086"/>
                        <a:pt x="1370889" y="102738"/>
                        <a:pt x="1352660" y="112938"/>
                      </a:cubicBezTo>
                      <a:lnTo>
                        <a:pt x="63968" y="203052"/>
                      </a:lnTo>
                      <a:cubicBezTo>
                        <a:pt x="68944" y="198570"/>
                        <a:pt x="71031" y="193484"/>
                        <a:pt x="71289" y="188968"/>
                      </a:cubicBezTo>
                      <a:cubicBezTo>
                        <a:pt x="72982" y="159335"/>
                        <a:pt x="-4064" y="145788"/>
                        <a:pt x="169" y="112768"/>
                      </a:cubicBezTo>
                      <a:lnTo>
                        <a:pt x="10766" y="9219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51" name="Freeform 150"/>
                <p:cNvSpPr/>
                <p:nvPr/>
              </p:nvSpPr>
              <p:spPr>
                <a:xfrm>
                  <a:off x="4080889" y="5208287"/>
                  <a:ext cx="979841" cy="141561"/>
                </a:xfrm>
                <a:custGeom>
                  <a:avLst/>
                  <a:gdLst/>
                  <a:ahLst/>
                  <a:cxnLst/>
                  <a:rect l="l" t="t" r="r" b="b"/>
                  <a:pathLst>
                    <a:path w="1402254" h="202589">
                      <a:moveTo>
                        <a:pt x="1327165" y="0"/>
                      </a:moveTo>
                      <a:cubicBezTo>
                        <a:pt x="1345502" y="29113"/>
                        <a:pt x="1402254" y="67305"/>
                        <a:pt x="1402254" y="85604"/>
                      </a:cubicBezTo>
                      <a:cubicBezTo>
                        <a:pt x="1402254" y="94165"/>
                        <a:pt x="1389065" y="102342"/>
                        <a:pt x="1373510" y="111338"/>
                      </a:cubicBezTo>
                      <a:lnTo>
                        <a:pt x="68561" y="202589"/>
                      </a:lnTo>
                      <a:cubicBezTo>
                        <a:pt x="60713" y="175951"/>
                        <a:pt x="-3772" y="139763"/>
                        <a:pt x="174" y="116084"/>
                      </a:cubicBezTo>
                      <a:cubicBezTo>
                        <a:pt x="1332" y="109136"/>
                        <a:pt x="7527" y="100699"/>
                        <a:pt x="16039" y="91683"/>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52" name="Freeform 151"/>
                <p:cNvSpPr/>
                <p:nvPr/>
              </p:nvSpPr>
              <p:spPr>
                <a:xfrm>
                  <a:off x="4336590" y="5852030"/>
                  <a:ext cx="470337" cy="95190"/>
                </a:xfrm>
                <a:custGeom>
                  <a:avLst/>
                  <a:gdLst>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325"/>
                    <a:gd name="connsiteX1" fmla="*/ 241300 w 673100"/>
                    <a:gd name="connsiteY1" fmla="*/ 121920 h 127325"/>
                    <a:gd name="connsiteX2" fmla="*/ 434340 w 673100"/>
                    <a:gd name="connsiteY2" fmla="*/ 127000 h 127325"/>
                    <a:gd name="connsiteX3" fmla="*/ 673100 w 673100"/>
                    <a:gd name="connsiteY3" fmla="*/ 0 h 127325"/>
                    <a:gd name="connsiteX4" fmla="*/ 0 w 673100"/>
                    <a:gd name="connsiteY4" fmla="*/ 5080 h 127325"/>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4622"/>
                    <a:gd name="connsiteX1" fmla="*/ 241300 w 673100"/>
                    <a:gd name="connsiteY1" fmla="*/ 121920 h 134622"/>
                    <a:gd name="connsiteX2" fmla="*/ 434340 w 673100"/>
                    <a:gd name="connsiteY2" fmla="*/ 127000 h 134622"/>
                    <a:gd name="connsiteX3" fmla="*/ 673100 w 673100"/>
                    <a:gd name="connsiteY3" fmla="*/ 0 h 134622"/>
                    <a:gd name="connsiteX4" fmla="*/ 0 w 673100"/>
                    <a:gd name="connsiteY4" fmla="*/ 5080 h 134622"/>
                    <a:gd name="connsiteX0" fmla="*/ 0 w 673100"/>
                    <a:gd name="connsiteY0" fmla="*/ 5080 h 136227"/>
                    <a:gd name="connsiteX1" fmla="*/ 241300 w 673100"/>
                    <a:gd name="connsiteY1" fmla="*/ 121920 h 136227"/>
                    <a:gd name="connsiteX2" fmla="*/ 434340 w 673100"/>
                    <a:gd name="connsiteY2" fmla="*/ 127000 h 136227"/>
                    <a:gd name="connsiteX3" fmla="*/ 673100 w 673100"/>
                    <a:gd name="connsiteY3" fmla="*/ 0 h 136227"/>
                    <a:gd name="connsiteX4" fmla="*/ 0 w 673100"/>
                    <a:gd name="connsiteY4" fmla="*/ 5080 h 136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00" h="136227">
                      <a:moveTo>
                        <a:pt x="0" y="5080"/>
                      </a:moveTo>
                      <a:cubicBezTo>
                        <a:pt x="423" y="32597"/>
                        <a:pt x="226483" y="106892"/>
                        <a:pt x="241300" y="121920"/>
                      </a:cubicBezTo>
                      <a:cubicBezTo>
                        <a:pt x="256117" y="136948"/>
                        <a:pt x="421428" y="142452"/>
                        <a:pt x="434340" y="127000"/>
                      </a:cubicBezTo>
                      <a:cubicBezTo>
                        <a:pt x="447252" y="111548"/>
                        <a:pt x="671618" y="23283"/>
                        <a:pt x="673100" y="0"/>
                      </a:cubicBezTo>
                      <a:lnTo>
                        <a:pt x="0" y="508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146" name="Oval 145"/>
              <p:cNvSpPr/>
              <p:nvPr/>
            </p:nvSpPr>
            <p:spPr>
              <a:xfrm rot="19080000" flipH="1">
                <a:off x="3521505" y="2435407"/>
                <a:ext cx="890063" cy="265634"/>
              </a:xfrm>
              <a:prstGeom prst="ellipse">
                <a:avLst/>
              </a:prstGeom>
              <a:gradFill flip="none" rotWithShape="1">
                <a:gsLst>
                  <a:gs pos="28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142" name="Oval 141"/>
            <p:cNvSpPr/>
            <p:nvPr/>
          </p:nvSpPr>
          <p:spPr>
            <a:xfrm>
              <a:off x="6247117" y="2512770"/>
              <a:ext cx="1162056" cy="1079812"/>
            </a:xfrm>
            <a:prstGeom prst="ellipse">
              <a:avLst/>
            </a:prstGeom>
            <a:gradFill flip="none" rotWithShape="1">
              <a:gsLst>
                <a:gs pos="32000">
                  <a:srgbClr val="00B0F0"/>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ysClr val="window" lastClr="FFFFFF"/>
                </a:solidFill>
                <a:latin typeface="Arial" panose="020B0604020202020204" pitchFamily="34" charset="0"/>
                <a:cs typeface="Arial" panose="020B0604020202020204" pitchFamily="34" charset="0"/>
              </a:endParaRPr>
            </a:p>
          </p:txBody>
        </p:sp>
      </p:grpSp>
      <p:grpSp>
        <p:nvGrpSpPr>
          <p:cNvPr id="162" name="Group 161"/>
          <p:cNvGrpSpPr/>
          <p:nvPr userDrawn="1"/>
        </p:nvGrpSpPr>
        <p:grpSpPr>
          <a:xfrm rot="3994560">
            <a:off x="6764596" y="1971781"/>
            <a:ext cx="588708" cy="1040024"/>
            <a:chOff x="5869118" y="1864852"/>
            <a:chExt cx="1875650" cy="3313563"/>
          </a:xfrm>
        </p:grpSpPr>
        <p:grpSp>
          <p:nvGrpSpPr>
            <p:cNvPr id="163" name="Group 162"/>
            <p:cNvGrpSpPr/>
            <p:nvPr/>
          </p:nvGrpSpPr>
          <p:grpSpPr>
            <a:xfrm>
              <a:off x="5869118" y="1864852"/>
              <a:ext cx="1875650" cy="3313563"/>
              <a:chOff x="3509193" y="2208611"/>
              <a:chExt cx="2116248" cy="3738609"/>
            </a:xfrm>
          </p:grpSpPr>
          <p:sp>
            <p:nvSpPr>
              <p:cNvPr id="165" name="Freeform 164"/>
              <p:cNvSpPr/>
              <p:nvPr/>
            </p:nvSpPr>
            <p:spPr>
              <a:xfrm>
                <a:off x="3509193" y="2208611"/>
                <a:ext cx="2116248" cy="2832368"/>
              </a:xfrm>
              <a:custGeom>
                <a:avLst/>
                <a:gdLst>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88" h="1692915">
                    <a:moveTo>
                      <a:pt x="632444" y="0"/>
                    </a:moveTo>
                    <a:cubicBezTo>
                      <a:pt x="981735" y="7"/>
                      <a:pt x="1264888" y="283165"/>
                      <a:pt x="1264888" y="632458"/>
                    </a:cubicBezTo>
                    <a:cubicBezTo>
                      <a:pt x="1264888" y="722053"/>
                      <a:pt x="1243620" y="800469"/>
                      <a:pt x="1212119" y="884292"/>
                    </a:cubicBezTo>
                    <a:cubicBezTo>
                      <a:pt x="1180618" y="968115"/>
                      <a:pt x="1050676" y="1160843"/>
                      <a:pt x="1026175" y="1272920"/>
                    </a:cubicBezTo>
                    <a:cubicBezTo>
                      <a:pt x="1001674" y="1384997"/>
                      <a:pt x="991603" y="1515490"/>
                      <a:pt x="972341" y="1634870"/>
                    </a:cubicBezTo>
                    <a:cubicBezTo>
                      <a:pt x="968177" y="1660679"/>
                      <a:pt x="924730" y="1693412"/>
                      <a:pt x="888132" y="1692910"/>
                    </a:cubicBezTo>
                    <a:cubicBezTo>
                      <a:pt x="851534" y="1692408"/>
                      <a:pt x="429358" y="1692412"/>
                      <a:pt x="376023" y="1692910"/>
                    </a:cubicBezTo>
                    <a:cubicBezTo>
                      <a:pt x="322688" y="1693408"/>
                      <a:pt x="296690" y="1660741"/>
                      <a:pt x="292547" y="1635064"/>
                    </a:cubicBezTo>
                    <a:cubicBezTo>
                      <a:pt x="273285" y="1515684"/>
                      <a:pt x="263214" y="1385191"/>
                      <a:pt x="238713" y="1273114"/>
                    </a:cubicBezTo>
                    <a:cubicBezTo>
                      <a:pt x="214212" y="1161037"/>
                      <a:pt x="84270" y="968309"/>
                      <a:pt x="52769" y="884486"/>
                    </a:cubicBezTo>
                    <a:cubicBezTo>
                      <a:pt x="21268" y="800663"/>
                      <a:pt x="0" y="722247"/>
                      <a:pt x="0" y="632652"/>
                    </a:cubicBezTo>
                    <a:cubicBezTo>
                      <a:pt x="0" y="283359"/>
                      <a:pt x="283153" y="201"/>
                      <a:pt x="632444" y="194"/>
                    </a:cubicBezTo>
                    <a:lnTo>
                      <a:pt x="632444" y="0"/>
                    </a:lnTo>
                    <a:close/>
                  </a:path>
                </a:pathLst>
              </a:custGeom>
              <a:solidFill>
                <a:srgbClr val="00B0F0">
                  <a:alpha val="20000"/>
                </a:srgbClr>
              </a:solidFill>
              <a:ln>
                <a:noFill/>
              </a:ln>
              <a:effectLst/>
              <a:scene3d>
                <a:camera prst="orthographicFront">
                  <a:rot lat="0" lon="0" rev="0"/>
                </a:camera>
                <a:lightRig rig="twoPt" dir="t">
                  <a:rot lat="0" lon="0" rev="0"/>
                </a:lightRig>
              </a:scene3d>
              <a:sp3d prstMaterial="clear">
                <a:bevelT w="317500" h="1905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nvGrpSpPr>
              <p:cNvPr id="166" name="Group 165"/>
              <p:cNvGrpSpPr/>
              <p:nvPr/>
            </p:nvGrpSpPr>
            <p:grpSpPr>
              <a:xfrm>
                <a:off x="4221220" y="3554960"/>
                <a:ext cx="700181" cy="1502973"/>
                <a:chOff x="6480420" y="3161623"/>
                <a:chExt cx="813818" cy="1746901"/>
              </a:xfrm>
            </p:grpSpPr>
            <p:sp>
              <p:nvSpPr>
                <p:cNvPr id="175" name="Freeform 174"/>
                <p:cNvSpPr/>
                <p:nvPr/>
              </p:nvSpPr>
              <p:spPr>
                <a:xfrm>
                  <a:off x="6747926" y="4123689"/>
                  <a:ext cx="27850" cy="772043"/>
                </a:xfrm>
                <a:custGeom>
                  <a:avLst/>
                  <a:gdLst>
                    <a:gd name="connsiteX0" fmla="*/ 0 w 34290"/>
                    <a:gd name="connsiteY0" fmla="*/ 0 h 950595"/>
                    <a:gd name="connsiteX1" fmla="*/ 34290 w 34290"/>
                    <a:gd name="connsiteY1" fmla="*/ 950595 h 950595"/>
                  </a:gdLst>
                  <a:ahLst/>
                  <a:cxnLst>
                    <a:cxn ang="0">
                      <a:pos x="connsiteX0" y="connsiteY0"/>
                    </a:cxn>
                    <a:cxn ang="0">
                      <a:pos x="connsiteX1" y="connsiteY1"/>
                    </a:cxn>
                  </a:cxnLst>
                  <a:rect l="l" t="t" r="r" b="b"/>
                  <a:pathLst>
                    <a:path w="34290" h="950595">
                      <a:moveTo>
                        <a:pt x="0" y="0"/>
                      </a:moveTo>
                      <a:lnTo>
                        <a:pt x="34290" y="950595"/>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76" name="Freeform 175"/>
                <p:cNvSpPr/>
                <p:nvPr/>
              </p:nvSpPr>
              <p:spPr>
                <a:xfrm>
                  <a:off x="7003162" y="4123690"/>
                  <a:ext cx="21660" cy="770496"/>
                </a:xfrm>
                <a:custGeom>
                  <a:avLst/>
                  <a:gdLst>
                    <a:gd name="connsiteX0" fmla="*/ 26670 w 26670"/>
                    <a:gd name="connsiteY0" fmla="*/ 0 h 948690"/>
                    <a:gd name="connsiteX1" fmla="*/ 0 w 26670"/>
                    <a:gd name="connsiteY1" fmla="*/ 948690 h 948690"/>
                  </a:gdLst>
                  <a:ahLst/>
                  <a:cxnLst>
                    <a:cxn ang="0">
                      <a:pos x="connsiteX0" y="connsiteY0"/>
                    </a:cxn>
                    <a:cxn ang="0">
                      <a:pos x="connsiteX1" y="connsiteY1"/>
                    </a:cxn>
                  </a:cxnLst>
                  <a:rect l="l" t="t" r="r" b="b"/>
                  <a:pathLst>
                    <a:path w="26670" h="948690">
                      <a:moveTo>
                        <a:pt x="26670" y="0"/>
                      </a:moveTo>
                      <a:lnTo>
                        <a:pt x="0" y="948690"/>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77" name="Freeform 176"/>
                <p:cNvSpPr/>
                <p:nvPr/>
              </p:nvSpPr>
              <p:spPr>
                <a:xfrm>
                  <a:off x="6672271" y="3166397"/>
                  <a:ext cx="120681" cy="521400"/>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123 w 148713"/>
                    <a:gd name="connsiteY0" fmla="*/ 0 h 641985"/>
                    <a:gd name="connsiteX1" fmla="*/ 3933 w 148713"/>
                    <a:gd name="connsiteY1" fmla="*/ 110490 h 641985"/>
                    <a:gd name="connsiteX2" fmla="*/ 34413 w 148713"/>
                    <a:gd name="connsiteY2" fmla="*/ 129540 h 641985"/>
                    <a:gd name="connsiteX3" fmla="*/ 57273 w 148713"/>
                    <a:gd name="connsiteY3" fmla="*/ 87630 h 641985"/>
                    <a:gd name="connsiteX4" fmla="*/ 30603 w 148713"/>
                    <a:gd name="connsiteY4" fmla="*/ 57150 h 641985"/>
                    <a:gd name="connsiteX5" fmla="*/ 15363 w 148713"/>
                    <a:gd name="connsiteY5" fmla="*/ 144780 h 641985"/>
                    <a:gd name="connsiteX6" fmla="*/ 148713 w 148713"/>
                    <a:gd name="connsiteY6" fmla="*/ 641985 h 641985"/>
                    <a:gd name="connsiteX0" fmla="*/ 0 w 148590"/>
                    <a:gd name="connsiteY0" fmla="*/ 0 h 641985"/>
                    <a:gd name="connsiteX1" fmla="*/ 3810 w 148590"/>
                    <a:gd name="connsiteY1" fmla="*/ 110490 h 641985"/>
                    <a:gd name="connsiteX2" fmla="*/ 34290 w 148590"/>
                    <a:gd name="connsiteY2" fmla="*/ 129540 h 641985"/>
                    <a:gd name="connsiteX3" fmla="*/ 57150 w 148590"/>
                    <a:gd name="connsiteY3" fmla="*/ 87630 h 641985"/>
                    <a:gd name="connsiteX4" fmla="*/ 30480 w 148590"/>
                    <a:gd name="connsiteY4" fmla="*/ 57150 h 641985"/>
                    <a:gd name="connsiteX5" fmla="*/ 15240 w 148590"/>
                    <a:gd name="connsiteY5" fmla="*/ 144780 h 641985"/>
                    <a:gd name="connsiteX6" fmla="*/ 148590 w 148590"/>
                    <a:gd name="connsiteY6" fmla="*/ 641985 h 64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 h="641985">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931" y="57677"/>
                        <a:pt x="30480" y="57150"/>
                      </a:cubicBezTo>
                      <a:cubicBezTo>
                        <a:pt x="8255" y="56515"/>
                        <a:pt x="-4445" y="47308"/>
                        <a:pt x="15240" y="144780"/>
                      </a:cubicBezTo>
                      <a:cubicBezTo>
                        <a:pt x="34925" y="242253"/>
                        <a:pt x="104140" y="467995"/>
                        <a:pt x="148590" y="641985"/>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78" name="Freeform 177"/>
                <p:cNvSpPr/>
                <p:nvPr/>
              </p:nvSpPr>
              <p:spPr>
                <a:xfrm rot="21360000" flipH="1">
                  <a:off x="6946994" y="3161623"/>
                  <a:ext cx="116190" cy="521665"/>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061" h="642311">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877" y="55639"/>
                        <a:pt x="30480" y="57150"/>
                      </a:cubicBezTo>
                      <a:cubicBezTo>
                        <a:pt x="6441" y="59125"/>
                        <a:pt x="-3523" y="47253"/>
                        <a:pt x="15240" y="144780"/>
                      </a:cubicBezTo>
                      <a:cubicBezTo>
                        <a:pt x="34003" y="242307"/>
                        <a:pt x="98611" y="468321"/>
                        <a:pt x="143061" y="642311"/>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79" name="Freeform 178"/>
                <p:cNvSpPr/>
                <p:nvPr/>
              </p:nvSpPr>
              <p:spPr>
                <a:xfrm>
                  <a:off x="6480420" y="3237725"/>
                  <a:ext cx="812786" cy="82516"/>
                </a:xfrm>
                <a:custGeom>
                  <a:avLst/>
                  <a:gdLst>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1000760" h="101600">
                      <a:moveTo>
                        <a:pt x="0" y="86360"/>
                      </a:moveTo>
                      <a:cubicBezTo>
                        <a:pt x="143087" y="92287"/>
                        <a:pt x="174413" y="55033"/>
                        <a:pt x="261620" y="5080"/>
                      </a:cubicBezTo>
                      <a:cubicBezTo>
                        <a:pt x="395393" y="33867"/>
                        <a:pt x="516467" y="37253"/>
                        <a:pt x="662940" y="0"/>
                      </a:cubicBezTo>
                      <a:cubicBezTo>
                        <a:pt x="813647" y="69427"/>
                        <a:pt x="865293" y="90593"/>
                        <a:pt x="1000760" y="101600"/>
                      </a:cubicBezTo>
                    </a:path>
                  </a:pathLst>
                </a:custGeom>
                <a:noFill/>
                <a:ln w="19050" cap="rnd" cmpd="sng">
                  <a:solidFill>
                    <a:schemeClr val="tx1">
                      <a:lumMod val="50000"/>
                      <a:lumOff val="50000"/>
                    </a:schemeClr>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80" name="Freeform 179"/>
                <p:cNvSpPr/>
                <p:nvPr/>
              </p:nvSpPr>
              <p:spPr>
                <a:xfrm flipH="1">
                  <a:off x="6678460" y="3749170"/>
                  <a:ext cx="412581" cy="1159354"/>
                </a:xfrm>
                <a:custGeom>
                  <a:avLst/>
                  <a:gdLst/>
                  <a:ahLst/>
                  <a:cxnLst/>
                  <a:rect l="l" t="t" r="r" b="b"/>
                  <a:pathLst>
                    <a:path w="508000" h="1427480">
                      <a:moveTo>
                        <a:pt x="254000" y="647700"/>
                      </a:moveTo>
                      <a:cubicBezTo>
                        <a:pt x="294681" y="647700"/>
                        <a:pt x="327660" y="680679"/>
                        <a:pt x="327660" y="721360"/>
                      </a:cubicBezTo>
                      <a:cubicBezTo>
                        <a:pt x="327660" y="762041"/>
                        <a:pt x="294681" y="795020"/>
                        <a:pt x="254000" y="795020"/>
                      </a:cubicBezTo>
                      <a:cubicBezTo>
                        <a:pt x="213319" y="795020"/>
                        <a:pt x="180340" y="762041"/>
                        <a:pt x="180340" y="721360"/>
                      </a:cubicBezTo>
                      <a:cubicBezTo>
                        <a:pt x="180340" y="680679"/>
                        <a:pt x="213319" y="647700"/>
                        <a:pt x="254000" y="647700"/>
                      </a:cubicBezTo>
                      <a:close/>
                      <a:moveTo>
                        <a:pt x="325120" y="0"/>
                      </a:moveTo>
                      <a:lnTo>
                        <a:pt x="254000" y="2453"/>
                      </a:lnTo>
                      <a:lnTo>
                        <a:pt x="182880" y="0"/>
                      </a:lnTo>
                      <a:lnTo>
                        <a:pt x="182880" y="375920"/>
                      </a:lnTo>
                      <a:cubicBezTo>
                        <a:pt x="178647" y="395393"/>
                        <a:pt x="191135" y="416348"/>
                        <a:pt x="170180" y="434340"/>
                      </a:cubicBezTo>
                      <a:cubicBezTo>
                        <a:pt x="149225" y="452332"/>
                        <a:pt x="11007" y="447040"/>
                        <a:pt x="10160" y="551180"/>
                      </a:cubicBezTo>
                      <a:cubicBezTo>
                        <a:pt x="9313" y="655320"/>
                        <a:pt x="53975" y="768138"/>
                        <a:pt x="53340" y="817880"/>
                      </a:cubicBezTo>
                      <a:cubicBezTo>
                        <a:pt x="52705" y="867622"/>
                        <a:pt x="0" y="937472"/>
                        <a:pt x="0" y="995680"/>
                      </a:cubicBezTo>
                      <a:lnTo>
                        <a:pt x="0" y="1427480"/>
                      </a:lnTo>
                      <a:lnTo>
                        <a:pt x="254000" y="1427480"/>
                      </a:lnTo>
                      <a:lnTo>
                        <a:pt x="508000" y="1427480"/>
                      </a:lnTo>
                      <a:lnTo>
                        <a:pt x="508000" y="995680"/>
                      </a:lnTo>
                      <a:cubicBezTo>
                        <a:pt x="508000" y="937472"/>
                        <a:pt x="455295" y="867622"/>
                        <a:pt x="454660" y="817880"/>
                      </a:cubicBezTo>
                      <a:cubicBezTo>
                        <a:pt x="454025" y="768138"/>
                        <a:pt x="498687" y="655320"/>
                        <a:pt x="497840" y="551180"/>
                      </a:cubicBezTo>
                      <a:cubicBezTo>
                        <a:pt x="496993" y="447040"/>
                        <a:pt x="358775" y="452332"/>
                        <a:pt x="337820" y="434340"/>
                      </a:cubicBezTo>
                      <a:cubicBezTo>
                        <a:pt x="316865" y="416348"/>
                        <a:pt x="329353" y="395393"/>
                        <a:pt x="325120" y="375920"/>
                      </a:cubicBezTo>
                      <a:close/>
                    </a:path>
                  </a:pathLst>
                </a:custGeom>
                <a:solidFill>
                  <a:schemeClr val="bg1">
                    <a:alpha val="20000"/>
                  </a:schemeClr>
                </a:solidFill>
                <a:ln>
                  <a:noFill/>
                </a:ln>
                <a:effectLst/>
                <a:scene3d>
                  <a:camera prst="orthographicFront">
                    <a:rot lat="0" lon="0" rev="0"/>
                  </a:camera>
                  <a:lightRig rig="chilly" dir="t"/>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81" name="Freeform 180"/>
                <p:cNvSpPr/>
                <p:nvPr/>
              </p:nvSpPr>
              <p:spPr>
                <a:xfrm>
                  <a:off x="6480420"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82" name="Freeform 181"/>
                <p:cNvSpPr/>
                <p:nvPr/>
              </p:nvSpPr>
              <p:spPr>
                <a:xfrm flipH="1">
                  <a:off x="7028123"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83" name="Rounded Rectangle 182"/>
                <p:cNvSpPr/>
                <p:nvPr/>
              </p:nvSpPr>
              <p:spPr>
                <a:xfrm>
                  <a:off x="6771291" y="3686870"/>
                  <a:ext cx="222795" cy="61888"/>
                </a:xfrm>
                <a:prstGeom prst="roundRect">
                  <a:avLst>
                    <a:gd name="adj" fmla="val 50000"/>
                  </a:avLst>
                </a:prstGeom>
                <a:solidFill>
                  <a:schemeClr val="bg1">
                    <a:alpha val="2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grpSp>
            <p:nvGrpSpPr>
              <p:cNvPr id="167" name="Group 166"/>
              <p:cNvGrpSpPr/>
              <p:nvPr/>
            </p:nvGrpSpPr>
            <p:grpSpPr>
              <a:xfrm>
                <a:off x="4077456" y="5030272"/>
                <a:ext cx="983340" cy="916948"/>
                <a:chOff x="4077456" y="5030272"/>
                <a:chExt cx="983340" cy="916948"/>
              </a:xfrm>
            </p:grpSpPr>
            <p:sp>
              <p:nvSpPr>
                <p:cNvPr id="169" name="Freeform 168"/>
                <p:cNvSpPr/>
                <p:nvPr/>
              </p:nvSpPr>
              <p:spPr>
                <a:xfrm>
                  <a:off x="4077456" y="5030272"/>
                  <a:ext cx="983340" cy="827082"/>
                </a:xfrm>
                <a:custGeom>
                  <a:avLst/>
                  <a:gdLst>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303"/>
                    <a:gd name="connsiteY0" fmla="*/ 0 h 1183640"/>
                    <a:gd name="connsiteX1" fmla="*/ 1402080 w 1407303"/>
                    <a:gd name="connsiteY1" fmla="*/ 177800 h 1183640"/>
                    <a:gd name="connsiteX2" fmla="*/ 1325880 w 1407303"/>
                    <a:gd name="connsiteY2" fmla="*/ 238760 h 1183640"/>
                    <a:gd name="connsiteX3" fmla="*/ 1407160 w 1407303"/>
                    <a:gd name="connsiteY3" fmla="*/ 340360 h 1183640"/>
                    <a:gd name="connsiteX4" fmla="*/ 1330960 w 1407303"/>
                    <a:gd name="connsiteY4" fmla="*/ 421640 h 1183640"/>
                    <a:gd name="connsiteX5" fmla="*/ 1402080 w 1407303"/>
                    <a:gd name="connsiteY5" fmla="*/ 518160 h 1183640"/>
                    <a:gd name="connsiteX6" fmla="*/ 1325880 w 1407303"/>
                    <a:gd name="connsiteY6" fmla="*/ 589280 h 1183640"/>
                    <a:gd name="connsiteX7" fmla="*/ 1407160 w 1407303"/>
                    <a:gd name="connsiteY7" fmla="*/ 690880 h 1183640"/>
                    <a:gd name="connsiteX8" fmla="*/ 1325880 w 1407303"/>
                    <a:gd name="connsiteY8" fmla="*/ 772160 h 1183640"/>
                    <a:gd name="connsiteX9" fmla="*/ 1407160 w 1407303"/>
                    <a:gd name="connsiteY9" fmla="*/ 863600 h 1183640"/>
                    <a:gd name="connsiteX10" fmla="*/ 1366520 w 1407303"/>
                    <a:gd name="connsiteY10" fmla="*/ 980440 h 1183640"/>
                    <a:gd name="connsiteX11" fmla="*/ 1036320 w 1407303"/>
                    <a:gd name="connsiteY11" fmla="*/ 1178560 h 1183640"/>
                    <a:gd name="connsiteX12" fmla="*/ 381000 w 1407303"/>
                    <a:gd name="connsiteY12" fmla="*/ 1183640 h 1183640"/>
                    <a:gd name="connsiteX13" fmla="*/ 15240 w 1407303"/>
                    <a:gd name="connsiteY13" fmla="*/ 899160 h 1183640"/>
                    <a:gd name="connsiteX14" fmla="*/ 71120 w 1407303"/>
                    <a:gd name="connsiteY14" fmla="*/ 812800 h 1183640"/>
                    <a:gd name="connsiteX15" fmla="*/ 0 w 1407303"/>
                    <a:gd name="connsiteY15" fmla="*/ 736600 h 1183640"/>
                    <a:gd name="connsiteX16" fmla="*/ 81280 w 1407303"/>
                    <a:gd name="connsiteY16" fmla="*/ 624840 h 1183640"/>
                    <a:gd name="connsiteX17" fmla="*/ 10160 w 1407303"/>
                    <a:gd name="connsiteY17" fmla="*/ 548640 h 1183640"/>
                    <a:gd name="connsiteX18" fmla="*/ 76200 w 1407303"/>
                    <a:gd name="connsiteY18" fmla="*/ 462280 h 1183640"/>
                    <a:gd name="connsiteX19" fmla="*/ 5080 w 1407303"/>
                    <a:gd name="connsiteY19" fmla="*/ 370840 h 1183640"/>
                    <a:gd name="connsiteX20" fmla="*/ 81280 w 1407303"/>
                    <a:gd name="connsiteY20" fmla="*/ 274320 h 1183640"/>
                    <a:gd name="connsiteX21" fmla="*/ 15240 w 1407303"/>
                    <a:gd name="connsiteY21" fmla="*/ 218440 h 1183640"/>
                    <a:gd name="connsiteX22" fmla="*/ 5080 w 1407303"/>
                    <a:gd name="connsiteY22" fmla="*/ 5080 h 1183640"/>
                    <a:gd name="connsiteX23" fmla="*/ 1402080 w 1407303"/>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9 w 1407263"/>
                    <a:gd name="connsiteY0" fmla="*/ 0 h 1183640"/>
                    <a:gd name="connsiteX1" fmla="*/ 1402089 w 1407263"/>
                    <a:gd name="connsiteY1" fmla="*/ 177800 h 1183640"/>
                    <a:gd name="connsiteX2" fmla="*/ 1325889 w 1407263"/>
                    <a:gd name="connsiteY2" fmla="*/ 238760 h 1183640"/>
                    <a:gd name="connsiteX3" fmla="*/ 1407169 w 1407263"/>
                    <a:gd name="connsiteY3" fmla="*/ 340360 h 1183640"/>
                    <a:gd name="connsiteX4" fmla="*/ 1330969 w 1407263"/>
                    <a:gd name="connsiteY4" fmla="*/ 421640 h 1183640"/>
                    <a:gd name="connsiteX5" fmla="*/ 1402089 w 1407263"/>
                    <a:gd name="connsiteY5" fmla="*/ 518160 h 1183640"/>
                    <a:gd name="connsiteX6" fmla="*/ 1325889 w 1407263"/>
                    <a:gd name="connsiteY6" fmla="*/ 589280 h 1183640"/>
                    <a:gd name="connsiteX7" fmla="*/ 1407169 w 1407263"/>
                    <a:gd name="connsiteY7" fmla="*/ 690880 h 1183640"/>
                    <a:gd name="connsiteX8" fmla="*/ 1325889 w 1407263"/>
                    <a:gd name="connsiteY8" fmla="*/ 772160 h 1183640"/>
                    <a:gd name="connsiteX9" fmla="*/ 1407169 w 1407263"/>
                    <a:gd name="connsiteY9" fmla="*/ 863600 h 1183640"/>
                    <a:gd name="connsiteX10" fmla="*/ 1366529 w 1407263"/>
                    <a:gd name="connsiteY10" fmla="*/ 980440 h 1183640"/>
                    <a:gd name="connsiteX11" fmla="*/ 1036329 w 1407263"/>
                    <a:gd name="connsiteY11" fmla="*/ 1178560 h 1183640"/>
                    <a:gd name="connsiteX12" fmla="*/ 381009 w 1407263"/>
                    <a:gd name="connsiteY12" fmla="*/ 1183640 h 1183640"/>
                    <a:gd name="connsiteX13" fmla="*/ 15249 w 1407263"/>
                    <a:gd name="connsiteY13" fmla="*/ 899160 h 1183640"/>
                    <a:gd name="connsiteX14" fmla="*/ 71129 w 1407263"/>
                    <a:gd name="connsiteY14" fmla="*/ 812800 h 1183640"/>
                    <a:gd name="connsiteX15" fmla="*/ 9 w 1407263"/>
                    <a:gd name="connsiteY15" fmla="*/ 736600 h 1183640"/>
                    <a:gd name="connsiteX16" fmla="*/ 81289 w 1407263"/>
                    <a:gd name="connsiteY16" fmla="*/ 624840 h 1183640"/>
                    <a:gd name="connsiteX17" fmla="*/ 10169 w 1407263"/>
                    <a:gd name="connsiteY17" fmla="*/ 548640 h 1183640"/>
                    <a:gd name="connsiteX18" fmla="*/ 76209 w 1407263"/>
                    <a:gd name="connsiteY18" fmla="*/ 462280 h 1183640"/>
                    <a:gd name="connsiteX19" fmla="*/ 5089 w 1407263"/>
                    <a:gd name="connsiteY19" fmla="*/ 370840 h 1183640"/>
                    <a:gd name="connsiteX20" fmla="*/ 81289 w 1407263"/>
                    <a:gd name="connsiteY20" fmla="*/ 274320 h 1183640"/>
                    <a:gd name="connsiteX21" fmla="*/ 15249 w 1407263"/>
                    <a:gd name="connsiteY21" fmla="*/ 218440 h 1183640"/>
                    <a:gd name="connsiteX22" fmla="*/ 5089 w 1407263"/>
                    <a:gd name="connsiteY22" fmla="*/ 5080 h 1183640"/>
                    <a:gd name="connsiteX23" fmla="*/ 1402089 w 1407263"/>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7627 w 1407261"/>
                    <a:gd name="connsiteY21" fmla="*/ 215900 h 1183640"/>
                    <a:gd name="connsiteX22" fmla="*/ 5087 w 1407261"/>
                    <a:gd name="connsiteY22" fmla="*/ 5080 h 1183640"/>
                    <a:gd name="connsiteX23" fmla="*/ 1402087 w 1407261"/>
                    <a:gd name="connsiteY23" fmla="*/ 0 h 118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07261" h="1183640">
                      <a:moveTo>
                        <a:pt x="1402087" y="0"/>
                      </a:moveTo>
                      <a:lnTo>
                        <a:pt x="1402087" y="177800"/>
                      </a:lnTo>
                      <a:cubicBezTo>
                        <a:pt x="1376687" y="198120"/>
                        <a:pt x="1326734" y="209973"/>
                        <a:pt x="1325887" y="238760"/>
                      </a:cubicBezTo>
                      <a:cubicBezTo>
                        <a:pt x="1325040" y="267547"/>
                        <a:pt x="1407167" y="318347"/>
                        <a:pt x="1407167" y="340360"/>
                      </a:cubicBezTo>
                      <a:cubicBezTo>
                        <a:pt x="1407167" y="362373"/>
                        <a:pt x="1319960" y="381847"/>
                        <a:pt x="1330967" y="421640"/>
                      </a:cubicBezTo>
                      <a:cubicBezTo>
                        <a:pt x="1341974" y="461433"/>
                        <a:pt x="1407167" y="494453"/>
                        <a:pt x="1402087" y="518160"/>
                      </a:cubicBezTo>
                      <a:cubicBezTo>
                        <a:pt x="1397007" y="541867"/>
                        <a:pt x="1326734" y="552873"/>
                        <a:pt x="1325887" y="589280"/>
                      </a:cubicBezTo>
                      <a:cubicBezTo>
                        <a:pt x="1325040" y="625687"/>
                        <a:pt x="1403780" y="658707"/>
                        <a:pt x="1407167" y="690880"/>
                      </a:cubicBezTo>
                      <a:cubicBezTo>
                        <a:pt x="1410554" y="723053"/>
                        <a:pt x="1321654" y="736600"/>
                        <a:pt x="1325887" y="772160"/>
                      </a:cubicBezTo>
                      <a:cubicBezTo>
                        <a:pt x="1330120" y="807720"/>
                        <a:pt x="1380074" y="833120"/>
                        <a:pt x="1407167" y="863600"/>
                      </a:cubicBezTo>
                      <a:cubicBezTo>
                        <a:pt x="1393620" y="902547"/>
                        <a:pt x="1390234" y="944880"/>
                        <a:pt x="1366527" y="980440"/>
                      </a:cubicBezTo>
                      <a:cubicBezTo>
                        <a:pt x="1342820" y="1016000"/>
                        <a:pt x="1100674" y="1145540"/>
                        <a:pt x="1036327" y="1178560"/>
                      </a:cubicBezTo>
                      <a:lnTo>
                        <a:pt x="381007" y="1183640"/>
                      </a:lnTo>
                      <a:cubicBezTo>
                        <a:pt x="200667" y="1098973"/>
                        <a:pt x="25407" y="996527"/>
                        <a:pt x="15247" y="899160"/>
                      </a:cubicBezTo>
                      <a:cubicBezTo>
                        <a:pt x="33874" y="870373"/>
                        <a:pt x="75360" y="836507"/>
                        <a:pt x="71127" y="812800"/>
                      </a:cubicBezTo>
                      <a:cubicBezTo>
                        <a:pt x="66894" y="789093"/>
                        <a:pt x="854" y="764540"/>
                        <a:pt x="7" y="736600"/>
                      </a:cubicBezTo>
                      <a:cubicBezTo>
                        <a:pt x="-840" y="708660"/>
                        <a:pt x="79594" y="654473"/>
                        <a:pt x="81287" y="624840"/>
                      </a:cubicBezTo>
                      <a:cubicBezTo>
                        <a:pt x="82980" y="595207"/>
                        <a:pt x="5934" y="581660"/>
                        <a:pt x="10167" y="548640"/>
                      </a:cubicBezTo>
                      <a:cubicBezTo>
                        <a:pt x="14400" y="515620"/>
                        <a:pt x="77054" y="488527"/>
                        <a:pt x="76207" y="462280"/>
                      </a:cubicBezTo>
                      <a:cubicBezTo>
                        <a:pt x="75360" y="436033"/>
                        <a:pt x="854" y="396240"/>
                        <a:pt x="5087" y="370840"/>
                      </a:cubicBezTo>
                      <a:cubicBezTo>
                        <a:pt x="9320" y="345440"/>
                        <a:pt x="80864" y="300143"/>
                        <a:pt x="81287" y="274320"/>
                      </a:cubicBezTo>
                      <a:cubicBezTo>
                        <a:pt x="81710" y="248497"/>
                        <a:pt x="29640" y="234527"/>
                        <a:pt x="7627" y="215900"/>
                      </a:cubicBezTo>
                      <a:cubicBezTo>
                        <a:pt x="6780" y="145627"/>
                        <a:pt x="5934" y="75353"/>
                        <a:pt x="5087" y="5080"/>
                      </a:cubicBezTo>
                      <a:lnTo>
                        <a:pt x="1402087" y="0"/>
                      </a:lnTo>
                      <a:close/>
                    </a:path>
                  </a:pathLst>
                </a:custGeom>
                <a:gradFill flip="none" rotWithShape="1">
                  <a:gsLst>
                    <a:gs pos="0">
                      <a:schemeClr val="bg1">
                        <a:lumMod val="30000"/>
                      </a:schemeClr>
                    </a:gs>
                    <a:gs pos="85000">
                      <a:schemeClr val="bg1">
                        <a:lumMod val="95000"/>
                      </a:schemeClr>
                    </a:gs>
                    <a:gs pos="42000">
                      <a:srgbClr val="B6B6B6">
                        <a:lumMod val="95000"/>
                      </a:srgbClr>
                    </a:gs>
                    <a:gs pos="70000">
                      <a:schemeClr val="bg1">
                        <a:lumMod val="66000"/>
                      </a:schemeClr>
                    </a:gs>
                    <a:gs pos="100000">
                      <a:schemeClr val="bg1">
                        <a:lumMod val="3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70" name="Freeform 169"/>
                <p:cNvSpPr/>
                <p:nvPr/>
              </p:nvSpPr>
              <p:spPr>
                <a:xfrm>
                  <a:off x="4088110" y="5582219"/>
                  <a:ext cx="972621" cy="141683"/>
                </a:xfrm>
                <a:custGeom>
                  <a:avLst/>
                  <a:gdLst/>
                  <a:ahLst/>
                  <a:cxnLst/>
                  <a:rect l="l" t="t" r="r" b="b"/>
                  <a:pathLst>
                    <a:path w="1391920" h="202763">
                      <a:moveTo>
                        <a:pt x="1319213" y="0"/>
                      </a:moveTo>
                      <a:cubicBezTo>
                        <a:pt x="1334296" y="26053"/>
                        <a:pt x="1370352" y="47098"/>
                        <a:pt x="1391920" y="71362"/>
                      </a:cubicBezTo>
                      <a:lnTo>
                        <a:pt x="1381165" y="110247"/>
                      </a:lnTo>
                      <a:lnTo>
                        <a:pt x="58123" y="202763"/>
                      </a:lnTo>
                      <a:cubicBezTo>
                        <a:pt x="24364" y="171244"/>
                        <a:pt x="3328" y="138811"/>
                        <a:pt x="0" y="106922"/>
                      </a:cubicBezTo>
                      <a:lnTo>
                        <a:pt x="11949" y="9141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71" name="Freeform 170"/>
                <p:cNvSpPr/>
                <p:nvPr/>
              </p:nvSpPr>
              <p:spPr>
                <a:xfrm>
                  <a:off x="4077456" y="5459198"/>
                  <a:ext cx="983340" cy="141952"/>
                </a:xfrm>
                <a:custGeom>
                  <a:avLst/>
                  <a:gdLst/>
                  <a:ahLst/>
                  <a:cxnLst/>
                  <a:rect l="l" t="t" r="r" b="b"/>
                  <a:pathLst>
                    <a:path w="1407261" h="203148">
                      <a:moveTo>
                        <a:pt x="1336797" y="0"/>
                      </a:moveTo>
                      <a:cubicBezTo>
                        <a:pt x="1357661" y="27201"/>
                        <a:pt x="1404570" y="52371"/>
                        <a:pt x="1407167" y="77042"/>
                      </a:cubicBezTo>
                      <a:cubicBezTo>
                        <a:pt x="1408668" y="91297"/>
                        <a:pt x="1392052" y="101895"/>
                        <a:pt x="1373255" y="112030"/>
                      </a:cubicBezTo>
                      <a:lnTo>
                        <a:pt x="70196" y="203148"/>
                      </a:lnTo>
                      <a:cubicBezTo>
                        <a:pt x="71464" y="201748"/>
                        <a:pt x="71373" y="200338"/>
                        <a:pt x="71127" y="198962"/>
                      </a:cubicBezTo>
                      <a:cubicBezTo>
                        <a:pt x="66894" y="175255"/>
                        <a:pt x="854" y="150702"/>
                        <a:pt x="7" y="122762"/>
                      </a:cubicBezTo>
                      <a:cubicBezTo>
                        <a:pt x="-246" y="114413"/>
                        <a:pt x="6760" y="103719"/>
                        <a:pt x="17044" y="92286"/>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72" name="Freeform 171"/>
                <p:cNvSpPr/>
                <p:nvPr/>
              </p:nvSpPr>
              <p:spPr>
                <a:xfrm>
                  <a:off x="4084442" y="5334842"/>
                  <a:ext cx="972935" cy="141885"/>
                </a:xfrm>
                <a:custGeom>
                  <a:avLst/>
                  <a:gdLst/>
                  <a:ahLst/>
                  <a:cxnLst/>
                  <a:rect l="l" t="t" r="r" b="b"/>
                  <a:pathLst>
                    <a:path w="1392370" h="203052">
                      <a:moveTo>
                        <a:pt x="1329184" y="0"/>
                      </a:moveTo>
                      <a:cubicBezTo>
                        <a:pt x="1347693" y="33963"/>
                        <a:pt x="1396511" y="61654"/>
                        <a:pt x="1392089" y="82288"/>
                      </a:cubicBezTo>
                      <a:cubicBezTo>
                        <a:pt x="1389561" y="94086"/>
                        <a:pt x="1370889" y="102738"/>
                        <a:pt x="1352660" y="112938"/>
                      </a:cubicBezTo>
                      <a:lnTo>
                        <a:pt x="63968" y="203052"/>
                      </a:lnTo>
                      <a:cubicBezTo>
                        <a:pt x="68944" y="198570"/>
                        <a:pt x="71031" y="193484"/>
                        <a:pt x="71289" y="188968"/>
                      </a:cubicBezTo>
                      <a:cubicBezTo>
                        <a:pt x="72982" y="159335"/>
                        <a:pt x="-4064" y="145788"/>
                        <a:pt x="169" y="112768"/>
                      </a:cubicBezTo>
                      <a:lnTo>
                        <a:pt x="10766" y="9219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73" name="Freeform 172"/>
                <p:cNvSpPr/>
                <p:nvPr/>
              </p:nvSpPr>
              <p:spPr>
                <a:xfrm>
                  <a:off x="4080889" y="5208287"/>
                  <a:ext cx="979841" cy="141561"/>
                </a:xfrm>
                <a:custGeom>
                  <a:avLst/>
                  <a:gdLst/>
                  <a:ahLst/>
                  <a:cxnLst/>
                  <a:rect l="l" t="t" r="r" b="b"/>
                  <a:pathLst>
                    <a:path w="1402254" h="202589">
                      <a:moveTo>
                        <a:pt x="1327165" y="0"/>
                      </a:moveTo>
                      <a:cubicBezTo>
                        <a:pt x="1345502" y="29113"/>
                        <a:pt x="1402254" y="67305"/>
                        <a:pt x="1402254" y="85604"/>
                      </a:cubicBezTo>
                      <a:cubicBezTo>
                        <a:pt x="1402254" y="94165"/>
                        <a:pt x="1389065" y="102342"/>
                        <a:pt x="1373510" y="111338"/>
                      </a:cubicBezTo>
                      <a:lnTo>
                        <a:pt x="68561" y="202589"/>
                      </a:lnTo>
                      <a:cubicBezTo>
                        <a:pt x="60713" y="175951"/>
                        <a:pt x="-3772" y="139763"/>
                        <a:pt x="174" y="116084"/>
                      </a:cubicBezTo>
                      <a:cubicBezTo>
                        <a:pt x="1332" y="109136"/>
                        <a:pt x="7527" y="100699"/>
                        <a:pt x="16039" y="91683"/>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74" name="Freeform 173"/>
                <p:cNvSpPr/>
                <p:nvPr/>
              </p:nvSpPr>
              <p:spPr>
                <a:xfrm>
                  <a:off x="4336590" y="5852030"/>
                  <a:ext cx="470337" cy="95190"/>
                </a:xfrm>
                <a:custGeom>
                  <a:avLst/>
                  <a:gdLst>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325"/>
                    <a:gd name="connsiteX1" fmla="*/ 241300 w 673100"/>
                    <a:gd name="connsiteY1" fmla="*/ 121920 h 127325"/>
                    <a:gd name="connsiteX2" fmla="*/ 434340 w 673100"/>
                    <a:gd name="connsiteY2" fmla="*/ 127000 h 127325"/>
                    <a:gd name="connsiteX3" fmla="*/ 673100 w 673100"/>
                    <a:gd name="connsiteY3" fmla="*/ 0 h 127325"/>
                    <a:gd name="connsiteX4" fmla="*/ 0 w 673100"/>
                    <a:gd name="connsiteY4" fmla="*/ 5080 h 127325"/>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4622"/>
                    <a:gd name="connsiteX1" fmla="*/ 241300 w 673100"/>
                    <a:gd name="connsiteY1" fmla="*/ 121920 h 134622"/>
                    <a:gd name="connsiteX2" fmla="*/ 434340 w 673100"/>
                    <a:gd name="connsiteY2" fmla="*/ 127000 h 134622"/>
                    <a:gd name="connsiteX3" fmla="*/ 673100 w 673100"/>
                    <a:gd name="connsiteY3" fmla="*/ 0 h 134622"/>
                    <a:gd name="connsiteX4" fmla="*/ 0 w 673100"/>
                    <a:gd name="connsiteY4" fmla="*/ 5080 h 134622"/>
                    <a:gd name="connsiteX0" fmla="*/ 0 w 673100"/>
                    <a:gd name="connsiteY0" fmla="*/ 5080 h 136227"/>
                    <a:gd name="connsiteX1" fmla="*/ 241300 w 673100"/>
                    <a:gd name="connsiteY1" fmla="*/ 121920 h 136227"/>
                    <a:gd name="connsiteX2" fmla="*/ 434340 w 673100"/>
                    <a:gd name="connsiteY2" fmla="*/ 127000 h 136227"/>
                    <a:gd name="connsiteX3" fmla="*/ 673100 w 673100"/>
                    <a:gd name="connsiteY3" fmla="*/ 0 h 136227"/>
                    <a:gd name="connsiteX4" fmla="*/ 0 w 673100"/>
                    <a:gd name="connsiteY4" fmla="*/ 5080 h 136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00" h="136227">
                      <a:moveTo>
                        <a:pt x="0" y="5080"/>
                      </a:moveTo>
                      <a:cubicBezTo>
                        <a:pt x="423" y="32597"/>
                        <a:pt x="226483" y="106892"/>
                        <a:pt x="241300" y="121920"/>
                      </a:cubicBezTo>
                      <a:cubicBezTo>
                        <a:pt x="256117" y="136948"/>
                        <a:pt x="421428" y="142452"/>
                        <a:pt x="434340" y="127000"/>
                      </a:cubicBezTo>
                      <a:cubicBezTo>
                        <a:pt x="447252" y="111548"/>
                        <a:pt x="671618" y="23283"/>
                        <a:pt x="673100" y="0"/>
                      </a:cubicBezTo>
                      <a:lnTo>
                        <a:pt x="0" y="508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168" name="Oval 167"/>
              <p:cNvSpPr/>
              <p:nvPr/>
            </p:nvSpPr>
            <p:spPr>
              <a:xfrm rot="19080000" flipH="1">
                <a:off x="3521505" y="2435407"/>
                <a:ext cx="890063" cy="265634"/>
              </a:xfrm>
              <a:prstGeom prst="ellipse">
                <a:avLst/>
              </a:prstGeom>
              <a:gradFill flip="none" rotWithShape="1">
                <a:gsLst>
                  <a:gs pos="28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164" name="Oval 163"/>
            <p:cNvSpPr/>
            <p:nvPr/>
          </p:nvSpPr>
          <p:spPr>
            <a:xfrm>
              <a:off x="6247117" y="2512770"/>
              <a:ext cx="1162056" cy="1079812"/>
            </a:xfrm>
            <a:prstGeom prst="ellipse">
              <a:avLst/>
            </a:prstGeom>
            <a:gradFill flip="none" rotWithShape="1">
              <a:gsLst>
                <a:gs pos="32000">
                  <a:srgbClr val="00B0F0"/>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ysClr val="window" lastClr="FFFFFF"/>
                </a:solidFill>
                <a:latin typeface="Arial" panose="020B0604020202020204" pitchFamily="34" charset="0"/>
                <a:cs typeface="Arial" panose="020B0604020202020204" pitchFamily="34" charset="0"/>
              </a:endParaRPr>
            </a:p>
          </p:txBody>
        </p:sp>
      </p:grpSp>
      <p:grpSp>
        <p:nvGrpSpPr>
          <p:cNvPr id="184" name="Group 183"/>
          <p:cNvGrpSpPr/>
          <p:nvPr userDrawn="1"/>
        </p:nvGrpSpPr>
        <p:grpSpPr>
          <a:xfrm rot="3994560">
            <a:off x="6573626" y="1428559"/>
            <a:ext cx="588708" cy="1040024"/>
            <a:chOff x="5869118" y="1864852"/>
            <a:chExt cx="1875650" cy="3313563"/>
          </a:xfrm>
        </p:grpSpPr>
        <p:grpSp>
          <p:nvGrpSpPr>
            <p:cNvPr id="185" name="Group 184"/>
            <p:cNvGrpSpPr/>
            <p:nvPr/>
          </p:nvGrpSpPr>
          <p:grpSpPr>
            <a:xfrm>
              <a:off x="5869118" y="1864852"/>
              <a:ext cx="1875650" cy="3313563"/>
              <a:chOff x="3509193" y="2208611"/>
              <a:chExt cx="2116248" cy="3738609"/>
            </a:xfrm>
          </p:grpSpPr>
          <p:sp>
            <p:nvSpPr>
              <p:cNvPr id="187" name="Freeform 186"/>
              <p:cNvSpPr/>
              <p:nvPr/>
            </p:nvSpPr>
            <p:spPr>
              <a:xfrm>
                <a:off x="3509193" y="2208611"/>
                <a:ext cx="2116248" cy="2832368"/>
              </a:xfrm>
              <a:custGeom>
                <a:avLst/>
                <a:gdLst>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88" h="1692915">
                    <a:moveTo>
                      <a:pt x="632444" y="0"/>
                    </a:moveTo>
                    <a:cubicBezTo>
                      <a:pt x="981735" y="7"/>
                      <a:pt x="1264888" y="283165"/>
                      <a:pt x="1264888" y="632458"/>
                    </a:cubicBezTo>
                    <a:cubicBezTo>
                      <a:pt x="1264888" y="722053"/>
                      <a:pt x="1243620" y="800469"/>
                      <a:pt x="1212119" y="884292"/>
                    </a:cubicBezTo>
                    <a:cubicBezTo>
                      <a:pt x="1180618" y="968115"/>
                      <a:pt x="1050676" y="1160843"/>
                      <a:pt x="1026175" y="1272920"/>
                    </a:cubicBezTo>
                    <a:cubicBezTo>
                      <a:pt x="1001674" y="1384997"/>
                      <a:pt x="991603" y="1515490"/>
                      <a:pt x="972341" y="1634870"/>
                    </a:cubicBezTo>
                    <a:cubicBezTo>
                      <a:pt x="968177" y="1660679"/>
                      <a:pt x="924730" y="1693412"/>
                      <a:pt x="888132" y="1692910"/>
                    </a:cubicBezTo>
                    <a:cubicBezTo>
                      <a:pt x="851534" y="1692408"/>
                      <a:pt x="429358" y="1692412"/>
                      <a:pt x="376023" y="1692910"/>
                    </a:cubicBezTo>
                    <a:cubicBezTo>
                      <a:pt x="322688" y="1693408"/>
                      <a:pt x="296690" y="1660741"/>
                      <a:pt x="292547" y="1635064"/>
                    </a:cubicBezTo>
                    <a:cubicBezTo>
                      <a:pt x="273285" y="1515684"/>
                      <a:pt x="263214" y="1385191"/>
                      <a:pt x="238713" y="1273114"/>
                    </a:cubicBezTo>
                    <a:cubicBezTo>
                      <a:pt x="214212" y="1161037"/>
                      <a:pt x="84270" y="968309"/>
                      <a:pt x="52769" y="884486"/>
                    </a:cubicBezTo>
                    <a:cubicBezTo>
                      <a:pt x="21268" y="800663"/>
                      <a:pt x="0" y="722247"/>
                      <a:pt x="0" y="632652"/>
                    </a:cubicBezTo>
                    <a:cubicBezTo>
                      <a:pt x="0" y="283359"/>
                      <a:pt x="283153" y="201"/>
                      <a:pt x="632444" y="194"/>
                    </a:cubicBezTo>
                    <a:lnTo>
                      <a:pt x="632444" y="0"/>
                    </a:lnTo>
                    <a:close/>
                  </a:path>
                </a:pathLst>
              </a:custGeom>
              <a:solidFill>
                <a:srgbClr val="00B0F0">
                  <a:alpha val="20000"/>
                </a:srgbClr>
              </a:solidFill>
              <a:ln>
                <a:noFill/>
              </a:ln>
              <a:effectLst/>
              <a:scene3d>
                <a:camera prst="orthographicFront">
                  <a:rot lat="0" lon="0" rev="0"/>
                </a:camera>
                <a:lightRig rig="twoPt" dir="t">
                  <a:rot lat="0" lon="0" rev="0"/>
                </a:lightRig>
              </a:scene3d>
              <a:sp3d prstMaterial="clear">
                <a:bevelT w="317500" h="1905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nvGrpSpPr>
              <p:cNvPr id="188" name="Group 187"/>
              <p:cNvGrpSpPr/>
              <p:nvPr/>
            </p:nvGrpSpPr>
            <p:grpSpPr>
              <a:xfrm>
                <a:off x="4221220" y="3554960"/>
                <a:ext cx="700181" cy="1502973"/>
                <a:chOff x="6480420" y="3161623"/>
                <a:chExt cx="813818" cy="1746901"/>
              </a:xfrm>
            </p:grpSpPr>
            <p:sp>
              <p:nvSpPr>
                <p:cNvPr id="197" name="Freeform 196"/>
                <p:cNvSpPr/>
                <p:nvPr/>
              </p:nvSpPr>
              <p:spPr>
                <a:xfrm>
                  <a:off x="6747926" y="4123689"/>
                  <a:ext cx="27850" cy="772043"/>
                </a:xfrm>
                <a:custGeom>
                  <a:avLst/>
                  <a:gdLst>
                    <a:gd name="connsiteX0" fmla="*/ 0 w 34290"/>
                    <a:gd name="connsiteY0" fmla="*/ 0 h 950595"/>
                    <a:gd name="connsiteX1" fmla="*/ 34290 w 34290"/>
                    <a:gd name="connsiteY1" fmla="*/ 950595 h 950595"/>
                  </a:gdLst>
                  <a:ahLst/>
                  <a:cxnLst>
                    <a:cxn ang="0">
                      <a:pos x="connsiteX0" y="connsiteY0"/>
                    </a:cxn>
                    <a:cxn ang="0">
                      <a:pos x="connsiteX1" y="connsiteY1"/>
                    </a:cxn>
                  </a:cxnLst>
                  <a:rect l="l" t="t" r="r" b="b"/>
                  <a:pathLst>
                    <a:path w="34290" h="950595">
                      <a:moveTo>
                        <a:pt x="0" y="0"/>
                      </a:moveTo>
                      <a:lnTo>
                        <a:pt x="34290" y="950595"/>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98" name="Freeform 197"/>
                <p:cNvSpPr/>
                <p:nvPr/>
              </p:nvSpPr>
              <p:spPr>
                <a:xfrm>
                  <a:off x="7003162" y="4123690"/>
                  <a:ext cx="21660" cy="770496"/>
                </a:xfrm>
                <a:custGeom>
                  <a:avLst/>
                  <a:gdLst>
                    <a:gd name="connsiteX0" fmla="*/ 26670 w 26670"/>
                    <a:gd name="connsiteY0" fmla="*/ 0 h 948690"/>
                    <a:gd name="connsiteX1" fmla="*/ 0 w 26670"/>
                    <a:gd name="connsiteY1" fmla="*/ 948690 h 948690"/>
                  </a:gdLst>
                  <a:ahLst/>
                  <a:cxnLst>
                    <a:cxn ang="0">
                      <a:pos x="connsiteX0" y="connsiteY0"/>
                    </a:cxn>
                    <a:cxn ang="0">
                      <a:pos x="connsiteX1" y="connsiteY1"/>
                    </a:cxn>
                  </a:cxnLst>
                  <a:rect l="l" t="t" r="r" b="b"/>
                  <a:pathLst>
                    <a:path w="26670" h="948690">
                      <a:moveTo>
                        <a:pt x="26670" y="0"/>
                      </a:moveTo>
                      <a:lnTo>
                        <a:pt x="0" y="948690"/>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199" name="Freeform 198"/>
                <p:cNvSpPr/>
                <p:nvPr/>
              </p:nvSpPr>
              <p:spPr>
                <a:xfrm>
                  <a:off x="6672271" y="3166397"/>
                  <a:ext cx="120681" cy="521400"/>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123 w 148713"/>
                    <a:gd name="connsiteY0" fmla="*/ 0 h 641985"/>
                    <a:gd name="connsiteX1" fmla="*/ 3933 w 148713"/>
                    <a:gd name="connsiteY1" fmla="*/ 110490 h 641985"/>
                    <a:gd name="connsiteX2" fmla="*/ 34413 w 148713"/>
                    <a:gd name="connsiteY2" fmla="*/ 129540 h 641985"/>
                    <a:gd name="connsiteX3" fmla="*/ 57273 w 148713"/>
                    <a:gd name="connsiteY3" fmla="*/ 87630 h 641985"/>
                    <a:gd name="connsiteX4" fmla="*/ 30603 w 148713"/>
                    <a:gd name="connsiteY4" fmla="*/ 57150 h 641985"/>
                    <a:gd name="connsiteX5" fmla="*/ 15363 w 148713"/>
                    <a:gd name="connsiteY5" fmla="*/ 144780 h 641985"/>
                    <a:gd name="connsiteX6" fmla="*/ 148713 w 148713"/>
                    <a:gd name="connsiteY6" fmla="*/ 641985 h 641985"/>
                    <a:gd name="connsiteX0" fmla="*/ 0 w 148590"/>
                    <a:gd name="connsiteY0" fmla="*/ 0 h 641985"/>
                    <a:gd name="connsiteX1" fmla="*/ 3810 w 148590"/>
                    <a:gd name="connsiteY1" fmla="*/ 110490 h 641985"/>
                    <a:gd name="connsiteX2" fmla="*/ 34290 w 148590"/>
                    <a:gd name="connsiteY2" fmla="*/ 129540 h 641985"/>
                    <a:gd name="connsiteX3" fmla="*/ 57150 w 148590"/>
                    <a:gd name="connsiteY3" fmla="*/ 87630 h 641985"/>
                    <a:gd name="connsiteX4" fmla="*/ 30480 w 148590"/>
                    <a:gd name="connsiteY4" fmla="*/ 57150 h 641985"/>
                    <a:gd name="connsiteX5" fmla="*/ 15240 w 148590"/>
                    <a:gd name="connsiteY5" fmla="*/ 144780 h 641985"/>
                    <a:gd name="connsiteX6" fmla="*/ 148590 w 148590"/>
                    <a:gd name="connsiteY6" fmla="*/ 641985 h 64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 h="641985">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931" y="57677"/>
                        <a:pt x="30480" y="57150"/>
                      </a:cubicBezTo>
                      <a:cubicBezTo>
                        <a:pt x="8255" y="56515"/>
                        <a:pt x="-4445" y="47308"/>
                        <a:pt x="15240" y="144780"/>
                      </a:cubicBezTo>
                      <a:cubicBezTo>
                        <a:pt x="34925" y="242253"/>
                        <a:pt x="104140" y="467995"/>
                        <a:pt x="148590" y="641985"/>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00" name="Freeform 199"/>
                <p:cNvSpPr/>
                <p:nvPr/>
              </p:nvSpPr>
              <p:spPr>
                <a:xfrm rot="21360000" flipH="1">
                  <a:off x="6946994" y="3161623"/>
                  <a:ext cx="116190" cy="521665"/>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061" h="642311">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877" y="55639"/>
                        <a:pt x="30480" y="57150"/>
                      </a:cubicBezTo>
                      <a:cubicBezTo>
                        <a:pt x="6441" y="59125"/>
                        <a:pt x="-3523" y="47253"/>
                        <a:pt x="15240" y="144780"/>
                      </a:cubicBezTo>
                      <a:cubicBezTo>
                        <a:pt x="34003" y="242307"/>
                        <a:pt x="98611" y="468321"/>
                        <a:pt x="143061" y="642311"/>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01" name="Freeform 200"/>
                <p:cNvSpPr/>
                <p:nvPr/>
              </p:nvSpPr>
              <p:spPr>
                <a:xfrm>
                  <a:off x="6480420" y="3237725"/>
                  <a:ext cx="812786" cy="82516"/>
                </a:xfrm>
                <a:custGeom>
                  <a:avLst/>
                  <a:gdLst>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1000760" h="101600">
                      <a:moveTo>
                        <a:pt x="0" y="86360"/>
                      </a:moveTo>
                      <a:cubicBezTo>
                        <a:pt x="143087" y="92287"/>
                        <a:pt x="174413" y="55033"/>
                        <a:pt x="261620" y="5080"/>
                      </a:cubicBezTo>
                      <a:cubicBezTo>
                        <a:pt x="395393" y="33867"/>
                        <a:pt x="516467" y="37253"/>
                        <a:pt x="662940" y="0"/>
                      </a:cubicBezTo>
                      <a:cubicBezTo>
                        <a:pt x="813647" y="69427"/>
                        <a:pt x="865293" y="90593"/>
                        <a:pt x="1000760" y="101600"/>
                      </a:cubicBezTo>
                    </a:path>
                  </a:pathLst>
                </a:custGeom>
                <a:noFill/>
                <a:ln w="19050" cap="rnd" cmpd="sng">
                  <a:solidFill>
                    <a:schemeClr val="tx1">
                      <a:lumMod val="50000"/>
                      <a:lumOff val="50000"/>
                    </a:schemeClr>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02" name="Freeform 201"/>
                <p:cNvSpPr/>
                <p:nvPr/>
              </p:nvSpPr>
              <p:spPr>
                <a:xfrm flipH="1">
                  <a:off x="6678460" y="3749170"/>
                  <a:ext cx="412581" cy="1159354"/>
                </a:xfrm>
                <a:custGeom>
                  <a:avLst/>
                  <a:gdLst/>
                  <a:ahLst/>
                  <a:cxnLst/>
                  <a:rect l="l" t="t" r="r" b="b"/>
                  <a:pathLst>
                    <a:path w="508000" h="1427480">
                      <a:moveTo>
                        <a:pt x="254000" y="647700"/>
                      </a:moveTo>
                      <a:cubicBezTo>
                        <a:pt x="294681" y="647700"/>
                        <a:pt x="327660" y="680679"/>
                        <a:pt x="327660" y="721360"/>
                      </a:cubicBezTo>
                      <a:cubicBezTo>
                        <a:pt x="327660" y="762041"/>
                        <a:pt x="294681" y="795020"/>
                        <a:pt x="254000" y="795020"/>
                      </a:cubicBezTo>
                      <a:cubicBezTo>
                        <a:pt x="213319" y="795020"/>
                        <a:pt x="180340" y="762041"/>
                        <a:pt x="180340" y="721360"/>
                      </a:cubicBezTo>
                      <a:cubicBezTo>
                        <a:pt x="180340" y="680679"/>
                        <a:pt x="213319" y="647700"/>
                        <a:pt x="254000" y="647700"/>
                      </a:cubicBezTo>
                      <a:close/>
                      <a:moveTo>
                        <a:pt x="325120" y="0"/>
                      </a:moveTo>
                      <a:lnTo>
                        <a:pt x="254000" y="2453"/>
                      </a:lnTo>
                      <a:lnTo>
                        <a:pt x="182880" y="0"/>
                      </a:lnTo>
                      <a:lnTo>
                        <a:pt x="182880" y="375920"/>
                      </a:lnTo>
                      <a:cubicBezTo>
                        <a:pt x="178647" y="395393"/>
                        <a:pt x="191135" y="416348"/>
                        <a:pt x="170180" y="434340"/>
                      </a:cubicBezTo>
                      <a:cubicBezTo>
                        <a:pt x="149225" y="452332"/>
                        <a:pt x="11007" y="447040"/>
                        <a:pt x="10160" y="551180"/>
                      </a:cubicBezTo>
                      <a:cubicBezTo>
                        <a:pt x="9313" y="655320"/>
                        <a:pt x="53975" y="768138"/>
                        <a:pt x="53340" y="817880"/>
                      </a:cubicBezTo>
                      <a:cubicBezTo>
                        <a:pt x="52705" y="867622"/>
                        <a:pt x="0" y="937472"/>
                        <a:pt x="0" y="995680"/>
                      </a:cubicBezTo>
                      <a:lnTo>
                        <a:pt x="0" y="1427480"/>
                      </a:lnTo>
                      <a:lnTo>
                        <a:pt x="254000" y="1427480"/>
                      </a:lnTo>
                      <a:lnTo>
                        <a:pt x="508000" y="1427480"/>
                      </a:lnTo>
                      <a:lnTo>
                        <a:pt x="508000" y="995680"/>
                      </a:lnTo>
                      <a:cubicBezTo>
                        <a:pt x="508000" y="937472"/>
                        <a:pt x="455295" y="867622"/>
                        <a:pt x="454660" y="817880"/>
                      </a:cubicBezTo>
                      <a:cubicBezTo>
                        <a:pt x="454025" y="768138"/>
                        <a:pt x="498687" y="655320"/>
                        <a:pt x="497840" y="551180"/>
                      </a:cubicBezTo>
                      <a:cubicBezTo>
                        <a:pt x="496993" y="447040"/>
                        <a:pt x="358775" y="452332"/>
                        <a:pt x="337820" y="434340"/>
                      </a:cubicBezTo>
                      <a:cubicBezTo>
                        <a:pt x="316865" y="416348"/>
                        <a:pt x="329353" y="395393"/>
                        <a:pt x="325120" y="375920"/>
                      </a:cubicBezTo>
                      <a:close/>
                    </a:path>
                  </a:pathLst>
                </a:custGeom>
                <a:solidFill>
                  <a:schemeClr val="bg1">
                    <a:alpha val="20000"/>
                  </a:schemeClr>
                </a:solidFill>
                <a:ln>
                  <a:noFill/>
                </a:ln>
                <a:effectLst/>
                <a:scene3d>
                  <a:camera prst="orthographicFront">
                    <a:rot lat="0" lon="0" rev="0"/>
                  </a:camera>
                  <a:lightRig rig="chilly" dir="t"/>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03" name="Freeform 202"/>
                <p:cNvSpPr/>
                <p:nvPr/>
              </p:nvSpPr>
              <p:spPr>
                <a:xfrm>
                  <a:off x="6480420"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04" name="Freeform 203"/>
                <p:cNvSpPr/>
                <p:nvPr/>
              </p:nvSpPr>
              <p:spPr>
                <a:xfrm flipH="1">
                  <a:off x="7028123"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05" name="Rounded Rectangle 204"/>
                <p:cNvSpPr/>
                <p:nvPr/>
              </p:nvSpPr>
              <p:spPr>
                <a:xfrm>
                  <a:off x="6771291" y="3686870"/>
                  <a:ext cx="222795" cy="61888"/>
                </a:xfrm>
                <a:prstGeom prst="roundRect">
                  <a:avLst>
                    <a:gd name="adj" fmla="val 50000"/>
                  </a:avLst>
                </a:prstGeom>
                <a:solidFill>
                  <a:schemeClr val="bg1">
                    <a:alpha val="2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grpSp>
            <p:nvGrpSpPr>
              <p:cNvPr id="189" name="Group 188"/>
              <p:cNvGrpSpPr/>
              <p:nvPr/>
            </p:nvGrpSpPr>
            <p:grpSpPr>
              <a:xfrm>
                <a:off x="4077456" y="5030272"/>
                <a:ext cx="983340" cy="916948"/>
                <a:chOff x="4077456" y="5030272"/>
                <a:chExt cx="983340" cy="916948"/>
              </a:xfrm>
            </p:grpSpPr>
            <p:sp>
              <p:nvSpPr>
                <p:cNvPr id="191" name="Freeform 190"/>
                <p:cNvSpPr/>
                <p:nvPr/>
              </p:nvSpPr>
              <p:spPr>
                <a:xfrm>
                  <a:off x="4077456" y="5030272"/>
                  <a:ext cx="983340" cy="827082"/>
                </a:xfrm>
                <a:custGeom>
                  <a:avLst/>
                  <a:gdLst>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303"/>
                    <a:gd name="connsiteY0" fmla="*/ 0 h 1183640"/>
                    <a:gd name="connsiteX1" fmla="*/ 1402080 w 1407303"/>
                    <a:gd name="connsiteY1" fmla="*/ 177800 h 1183640"/>
                    <a:gd name="connsiteX2" fmla="*/ 1325880 w 1407303"/>
                    <a:gd name="connsiteY2" fmla="*/ 238760 h 1183640"/>
                    <a:gd name="connsiteX3" fmla="*/ 1407160 w 1407303"/>
                    <a:gd name="connsiteY3" fmla="*/ 340360 h 1183640"/>
                    <a:gd name="connsiteX4" fmla="*/ 1330960 w 1407303"/>
                    <a:gd name="connsiteY4" fmla="*/ 421640 h 1183640"/>
                    <a:gd name="connsiteX5" fmla="*/ 1402080 w 1407303"/>
                    <a:gd name="connsiteY5" fmla="*/ 518160 h 1183640"/>
                    <a:gd name="connsiteX6" fmla="*/ 1325880 w 1407303"/>
                    <a:gd name="connsiteY6" fmla="*/ 589280 h 1183640"/>
                    <a:gd name="connsiteX7" fmla="*/ 1407160 w 1407303"/>
                    <a:gd name="connsiteY7" fmla="*/ 690880 h 1183640"/>
                    <a:gd name="connsiteX8" fmla="*/ 1325880 w 1407303"/>
                    <a:gd name="connsiteY8" fmla="*/ 772160 h 1183640"/>
                    <a:gd name="connsiteX9" fmla="*/ 1407160 w 1407303"/>
                    <a:gd name="connsiteY9" fmla="*/ 863600 h 1183640"/>
                    <a:gd name="connsiteX10" fmla="*/ 1366520 w 1407303"/>
                    <a:gd name="connsiteY10" fmla="*/ 980440 h 1183640"/>
                    <a:gd name="connsiteX11" fmla="*/ 1036320 w 1407303"/>
                    <a:gd name="connsiteY11" fmla="*/ 1178560 h 1183640"/>
                    <a:gd name="connsiteX12" fmla="*/ 381000 w 1407303"/>
                    <a:gd name="connsiteY12" fmla="*/ 1183640 h 1183640"/>
                    <a:gd name="connsiteX13" fmla="*/ 15240 w 1407303"/>
                    <a:gd name="connsiteY13" fmla="*/ 899160 h 1183640"/>
                    <a:gd name="connsiteX14" fmla="*/ 71120 w 1407303"/>
                    <a:gd name="connsiteY14" fmla="*/ 812800 h 1183640"/>
                    <a:gd name="connsiteX15" fmla="*/ 0 w 1407303"/>
                    <a:gd name="connsiteY15" fmla="*/ 736600 h 1183640"/>
                    <a:gd name="connsiteX16" fmla="*/ 81280 w 1407303"/>
                    <a:gd name="connsiteY16" fmla="*/ 624840 h 1183640"/>
                    <a:gd name="connsiteX17" fmla="*/ 10160 w 1407303"/>
                    <a:gd name="connsiteY17" fmla="*/ 548640 h 1183640"/>
                    <a:gd name="connsiteX18" fmla="*/ 76200 w 1407303"/>
                    <a:gd name="connsiteY18" fmla="*/ 462280 h 1183640"/>
                    <a:gd name="connsiteX19" fmla="*/ 5080 w 1407303"/>
                    <a:gd name="connsiteY19" fmla="*/ 370840 h 1183640"/>
                    <a:gd name="connsiteX20" fmla="*/ 81280 w 1407303"/>
                    <a:gd name="connsiteY20" fmla="*/ 274320 h 1183640"/>
                    <a:gd name="connsiteX21" fmla="*/ 15240 w 1407303"/>
                    <a:gd name="connsiteY21" fmla="*/ 218440 h 1183640"/>
                    <a:gd name="connsiteX22" fmla="*/ 5080 w 1407303"/>
                    <a:gd name="connsiteY22" fmla="*/ 5080 h 1183640"/>
                    <a:gd name="connsiteX23" fmla="*/ 1402080 w 1407303"/>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9 w 1407263"/>
                    <a:gd name="connsiteY0" fmla="*/ 0 h 1183640"/>
                    <a:gd name="connsiteX1" fmla="*/ 1402089 w 1407263"/>
                    <a:gd name="connsiteY1" fmla="*/ 177800 h 1183640"/>
                    <a:gd name="connsiteX2" fmla="*/ 1325889 w 1407263"/>
                    <a:gd name="connsiteY2" fmla="*/ 238760 h 1183640"/>
                    <a:gd name="connsiteX3" fmla="*/ 1407169 w 1407263"/>
                    <a:gd name="connsiteY3" fmla="*/ 340360 h 1183640"/>
                    <a:gd name="connsiteX4" fmla="*/ 1330969 w 1407263"/>
                    <a:gd name="connsiteY4" fmla="*/ 421640 h 1183640"/>
                    <a:gd name="connsiteX5" fmla="*/ 1402089 w 1407263"/>
                    <a:gd name="connsiteY5" fmla="*/ 518160 h 1183640"/>
                    <a:gd name="connsiteX6" fmla="*/ 1325889 w 1407263"/>
                    <a:gd name="connsiteY6" fmla="*/ 589280 h 1183640"/>
                    <a:gd name="connsiteX7" fmla="*/ 1407169 w 1407263"/>
                    <a:gd name="connsiteY7" fmla="*/ 690880 h 1183640"/>
                    <a:gd name="connsiteX8" fmla="*/ 1325889 w 1407263"/>
                    <a:gd name="connsiteY8" fmla="*/ 772160 h 1183640"/>
                    <a:gd name="connsiteX9" fmla="*/ 1407169 w 1407263"/>
                    <a:gd name="connsiteY9" fmla="*/ 863600 h 1183640"/>
                    <a:gd name="connsiteX10" fmla="*/ 1366529 w 1407263"/>
                    <a:gd name="connsiteY10" fmla="*/ 980440 h 1183640"/>
                    <a:gd name="connsiteX11" fmla="*/ 1036329 w 1407263"/>
                    <a:gd name="connsiteY11" fmla="*/ 1178560 h 1183640"/>
                    <a:gd name="connsiteX12" fmla="*/ 381009 w 1407263"/>
                    <a:gd name="connsiteY12" fmla="*/ 1183640 h 1183640"/>
                    <a:gd name="connsiteX13" fmla="*/ 15249 w 1407263"/>
                    <a:gd name="connsiteY13" fmla="*/ 899160 h 1183640"/>
                    <a:gd name="connsiteX14" fmla="*/ 71129 w 1407263"/>
                    <a:gd name="connsiteY14" fmla="*/ 812800 h 1183640"/>
                    <a:gd name="connsiteX15" fmla="*/ 9 w 1407263"/>
                    <a:gd name="connsiteY15" fmla="*/ 736600 h 1183640"/>
                    <a:gd name="connsiteX16" fmla="*/ 81289 w 1407263"/>
                    <a:gd name="connsiteY16" fmla="*/ 624840 h 1183640"/>
                    <a:gd name="connsiteX17" fmla="*/ 10169 w 1407263"/>
                    <a:gd name="connsiteY17" fmla="*/ 548640 h 1183640"/>
                    <a:gd name="connsiteX18" fmla="*/ 76209 w 1407263"/>
                    <a:gd name="connsiteY18" fmla="*/ 462280 h 1183640"/>
                    <a:gd name="connsiteX19" fmla="*/ 5089 w 1407263"/>
                    <a:gd name="connsiteY19" fmla="*/ 370840 h 1183640"/>
                    <a:gd name="connsiteX20" fmla="*/ 81289 w 1407263"/>
                    <a:gd name="connsiteY20" fmla="*/ 274320 h 1183640"/>
                    <a:gd name="connsiteX21" fmla="*/ 15249 w 1407263"/>
                    <a:gd name="connsiteY21" fmla="*/ 218440 h 1183640"/>
                    <a:gd name="connsiteX22" fmla="*/ 5089 w 1407263"/>
                    <a:gd name="connsiteY22" fmla="*/ 5080 h 1183640"/>
                    <a:gd name="connsiteX23" fmla="*/ 1402089 w 1407263"/>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7627 w 1407261"/>
                    <a:gd name="connsiteY21" fmla="*/ 215900 h 1183640"/>
                    <a:gd name="connsiteX22" fmla="*/ 5087 w 1407261"/>
                    <a:gd name="connsiteY22" fmla="*/ 5080 h 1183640"/>
                    <a:gd name="connsiteX23" fmla="*/ 1402087 w 1407261"/>
                    <a:gd name="connsiteY23" fmla="*/ 0 h 118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07261" h="1183640">
                      <a:moveTo>
                        <a:pt x="1402087" y="0"/>
                      </a:moveTo>
                      <a:lnTo>
                        <a:pt x="1402087" y="177800"/>
                      </a:lnTo>
                      <a:cubicBezTo>
                        <a:pt x="1376687" y="198120"/>
                        <a:pt x="1326734" y="209973"/>
                        <a:pt x="1325887" y="238760"/>
                      </a:cubicBezTo>
                      <a:cubicBezTo>
                        <a:pt x="1325040" y="267547"/>
                        <a:pt x="1407167" y="318347"/>
                        <a:pt x="1407167" y="340360"/>
                      </a:cubicBezTo>
                      <a:cubicBezTo>
                        <a:pt x="1407167" y="362373"/>
                        <a:pt x="1319960" y="381847"/>
                        <a:pt x="1330967" y="421640"/>
                      </a:cubicBezTo>
                      <a:cubicBezTo>
                        <a:pt x="1341974" y="461433"/>
                        <a:pt x="1407167" y="494453"/>
                        <a:pt x="1402087" y="518160"/>
                      </a:cubicBezTo>
                      <a:cubicBezTo>
                        <a:pt x="1397007" y="541867"/>
                        <a:pt x="1326734" y="552873"/>
                        <a:pt x="1325887" y="589280"/>
                      </a:cubicBezTo>
                      <a:cubicBezTo>
                        <a:pt x="1325040" y="625687"/>
                        <a:pt x="1403780" y="658707"/>
                        <a:pt x="1407167" y="690880"/>
                      </a:cubicBezTo>
                      <a:cubicBezTo>
                        <a:pt x="1410554" y="723053"/>
                        <a:pt x="1321654" y="736600"/>
                        <a:pt x="1325887" y="772160"/>
                      </a:cubicBezTo>
                      <a:cubicBezTo>
                        <a:pt x="1330120" y="807720"/>
                        <a:pt x="1380074" y="833120"/>
                        <a:pt x="1407167" y="863600"/>
                      </a:cubicBezTo>
                      <a:cubicBezTo>
                        <a:pt x="1393620" y="902547"/>
                        <a:pt x="1390234" y="944880"/>
                        <a:pt x="1366527" y="980440"/>
                      </a:cubicBezTo>
                      <a:cubicBezTo>
                        <a:pt x="1342820" y="1016000"/>
                        <a:pt x="1100674" y="1145540"/>
                        <a:pt x="1036327" y="1178560"/>
                      </a:cubicBezTo>
                      <a:lnTo>
                        <a:pt x="381007" y="1183640"/>
                      </a:lnTo>
                      <a:cubicBezTo>
                        <a:pt x="200667" y="1098973"/>
                        <a:pt x="25407" y="996527"/>
                        <a:pt x="15247" y="899160"/>
                      </a:cubicBezTo>
                      <a:cubicBezTo>
                        <a:pt x="33874" y="870373"/>
                        <a:pt x="75360" y="836507"/>
                        <a:pt x="71127" y="812800"/>
                      </a:cubicBezTo>
                      <a:cubicBezTo>
                        <a:pt x="66894" y="789093"/>
                        <a:pt x="854" y="764540"/>
                        <a:pt x="7" y="736600"/>
                      </a:cubicBezTo>
                      <a:cubicBezTo>
                        <a:pt x="-840" y="708660"/>
                        <a:pt x="79594" y="654473"/>
                        <a:pt x="81287" y="624840"/>
                      </a:cubicBezTo>
                      <a:cubicBezTo>
                        <a:pt x="82980" y="595207"/>
                        <a:pt x="5934" y="581660"/>
                        <a:pt x="10167" y="548640"/>
                      </a:cubicBezTo>
                      <a:cubicBezTo>
                        <a:pt x="14400" y="515620"/>
                        <a:pt x="77054" y="488527"/>
                        <a:pt x="76207" y="462280"/>
                      </a:cubicBezTo>
                      <a:cubicBezTo>
                        <a:pt x="75360" y="436033"/>
                        <a:pt x="854" y="396240"/>
                        <a:pt x="5087" y="370840"/>
                      </a:cubicBezTo>
                      <a:cubicBezTo>
                        <a:pt x="9320" y="345440"/>
                        <a:pt x="80864" y="300143"/>
                        <a:pt x="81287" y="274320"/>
                      </a:cubicBezTo>
                      <a:cubicBezTo>
                        <a:pt x="81710" y="248497"/>
                        <a:pt x="29640" y="234527"/>
                        <a:pt x="7627" y="215900"/>
                      </a:cubicBezTo>
                      <a:cubicBezTo>
                        <a:pt x="6780" y="145627"/>
                        <a:pt x="5934" y="75353"/>
                        <a:pt x="5087" y="5080"/>
                      </a:cubicBezTo>
                      <a:lnTo>
                        <a:pt x="1402087" y="0"/>
                      </a:lnTo>
                      <a:close/>
                    </a:path>
                  </a:pathLst>
                </a:custGeom>
                <a:gradFill flip="none" rotWithShape="1">
                  <a:gsLst>
                    <a:gs pos="0">
                      <a:schemeClr val="bg1">
                        <a:lumMod val="30000"/>
                      </a:schemeClr>
                    </a:gs>
                    <a:gs pos="85000">
                      <a:schemeClr val="bg1">
                        <a:lumMod val="95000"/>
                      </a:schemeClr>
                    </a:gs>
                    <a:gs pos="42000">
                      <a:srgbClr val="B6B6B6">
                        <a:lumMod val="95000"/>
                      </a:srgbClr>
                    </a:gs>
                    <a:gs pos="70000">
                      <a:schemeClr val="bg1">
                        <a:lumMod val="66000"/>
                      </a:schemeClr>
                    </a:gs>
                    <a:gs pos="100000">
                      <a:schemeClr val="bg1">
                        <a:lumMod val="3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92" name="Freeform 191"/>
                <p:cNvSpPr/>
                <p:nvPr/>
              </p:nvSpPr>
              <p:spPr>
                <a:xfrm>
                  <a:off x="4088110" y="5582219"/>
                  <a:ext cx="972621" cy="141683"/>
                </a:xfrm>
                <a:custGeom>
                  <a:avLst/>
                  <a:gdLst/>
                  <a:ahLst/>
                  <a:cxnLst/>
                  <a:rect l="l" t="t" r="r" b="b"/>
                  <a:pathLst>
                    <a:path w="1391920" h="202763">
                      <a:moveTo>
                        <a:pt x="1319213" y="0"/>
                      </a:moveTo>
                      <a:cubicBezTo>
                        <a:pt x="1334296" y="26053"/>
                        <a:pt x="1370352" y="47098"/>
                        <a:pt x="1391920" y="71362"/>
                      </a:cubicBezTo>
                      <a:lnTo>
                        <a:pt x="1381165" y="110247"/>
                      </a:lnTo>
                      <a:lnTo>
                        <a:pt x="58123" y="202763"/>
                      </a:lnTo>
                      <a:cubicBezTo>
                        <a:pt x="24364" y="171244"/>
                        <a:pt x="3328" y="138811"/>
                        <a:pt x="0" y="106922"/>
                      </a:cubicBezTo>
                      <a:lnTo>
                        <a:pt x="11949" y="9141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93" name="Freeform 192"/>
                <p:cNvSpPr/>
                <p:nvPr/>
              </p:nvSpPr>
              <p:spPr>
                <a:xfrm>
                  <a:off x="4077456" y="5459198"/>
                  <a:ext cx="983340" cy="141952"/>
                </a:xfrm>
                <a:custGeom>
                  <a:avLst/>
                  <a:gdLst/>
                  <a:ahLst/>
                  <a:cxnLst/>
                  <a:rect l="l" t="t" r="r" b="b"/>
                  <a:pathLst>
                    <a:path w="1407261" h="203148">
                      <a:moveTo>
                        <a:pt x="1336797" y="0"/>
                      </a:moveTo>
                      <a:cubicBezTo>
                        <a:pt x="1357661" y="27201"/>
                        <a:pt x="1404570" y="52371"/>
                        <a:pt x="1407167" y="77042"/>
                      </a:cubicBezTo>
                      <a:cubicBezTo>
                        <a:pt x="1408668" y="91297"/>
                        <a:pt x="1392052" y="101895"/>
                        <a:pt x="1373255" y="112030"/>
                      </a:cubicBezTo>
                      <a:lnTo>
                        <a:pt x="70196" y="203148"/>
                      </a:lnTo>
                      <a:cubicBezTo>
                        <a:pt x="71464" y="201748"/>
                        <a:pt x="71373" y="200338"/>
                        <a:pt x="71127" y="198962"/>
                      </a:cubicBezTo>
                      <a:cubicBezTo>
                        <a:pt x="66894" y="175255"/>
                        <a:pt x="854" y="150702"/>
                        <a:pt x="7" y="122762"/>
                      </a:cubicBezTo>
                      <a:cubicBezTo>
                        <a:pt x="-246" y="114413"/>
                        <a:pt x="6760" y="103719"/>
                        <a:pt x="17044" y="92286"/>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94" name="Freeform 193"/>
                <p:cNvSpPr/>
                <p:nvPr/>
              </p:nvSpPr>
              <p:spPr>
                <a:xfrm>
                  <a:off x="4084442" y="5334842"/>
                  <a:ext cx="972935" cy="141885"/>
                </a:xfrm>
                <a:custGeom>
                  <a:avLst/>
                  <a:gdLst/>
                  <a:ahLst/>
                  <a:cxnLst/>
                  <a:rect l="l" t="t" r="r" b="b"/>
                  <a:pathLst>
                    <a:path w="1392370" h="203052">
                      <a:moveTo>
                        <a:pt x="1329184" y="0"/>
                      </a:moveTo>
                      <a:cubicBezTo>
                        <a:pt x="1347693" y="33963"/>
                        <a:pt x="1396511" y="61654"/>
                        <a:pt x="1392089" y="82288"/>
                      </a:cubicBezTo>
                      <a:cubicBezTo>
                        <a:pt x="1389561" y="94086"/>
                        <a:pt x="1370889" y="102738"/>
                        <a:pt x="1352660" y="112938"/>
                      </a:cubicBezTo>
                      <a:lnTo>
                        <a:pt x="63968" y="203052"/>
                      </a:lnTo>
                      <a:cubicBezTo>
                        <a:pt x="68944" y="198570"/>
                        <a:pt x="71031" y="193484"/>
                        <a:pt x="71289" y="188968"/>
                      </a:cubicBezTo>
                      <a:cubicBezTo>
                        <a:pt x="72982" y="159335"/>
                        <a:pt x="-4064" y="145788"/>
                        <a:pt x="169" y="112768"/>
                      </a:cubicBezTo>
                      <a:lnTo>
                        <a:pt x="10766" y="9219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95" name="Freeform 194"/>
                <p:cNvSpPr/>
                <p:nvPr/>
              </p:nvSpPr>
              <p:spPr>
                <a:xfrm>
                  <a:off x="4080889" y="5208287"/>
                  <a:ext cx="979841" cy="141561"/>
                </a:xfrm>
                <a:custGeom>
                  <a:avLst/>
                  <a:gdLst/>
                  <a:ahLst/>
                  <a:cxnLst/>
                  <a:rect l="l" t="t" r="r" b="b"/>
                  <a:pathLst>
                    <a:path w="1402254" h="202589">
                      <a:moveTo>
                        <a:pt x="1327165" y="0"/>
                      </a:moveTo>
                      <a:cubicBezTo>
                        <a:pt x="1345502" y="29113"/>
                        <a:pt x="1402254" y="67305"/>
                        <a:pt x="1402254" y="85604"/>
                      </a:cubicBezTo>
                      <a:cubicBezTo>
                        <a:pt x="1402254" y="94165"/>
                        <a:pt x="1389065" y="102342"/>
                        <a:pt x="1373510" y="111338"/>
                      </a:cubicBezTo>
                      <a:lnTo>
                        <a:pt x="68561" y="202589"/>
                      </a:lnTo>
                      <a:cubicBezTo>
                        <a:pt x="60713" y="175951"/>
                        <a:pt x="-3772" y="139763"/>
                        <a:pt x="174" y="116084"/>
                      </a:cubicBezTo>
                      <a:cubicBezTo>
                        <a:pt x="1332" y="109136"/>
                        <a:pt x="7527" y="100699"/>
                        <a:pt x="16039" y="91683"/>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196" name="Freeform 195"/>
                <p:cNvSpPr/>
                <p:nvPr/>
              </p:nvSpPr>
              <p:spPr>
                <a:xfrm>
                  <a:off x="4336590" y="5852030"/>
                  <a:ext cx="470337" cy="95190"/>
                </a:xfrm>
                <a:custGeom>
                  <a:avLst/>
                  <a:gdLst>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325"/>
                    <a:gd name="connsiteX1" fmla="*/ 241300 w 673100"/>
                    <a:gd name="connsiteY1" fmla="*/ 121920 h 127325"/>
                    <a:gd name="connsiteX2" fmla="*/ 434340 w 673100"/>
                    <a:gd name="connsiteY2" fmla="*/ 127000 h 127325"/>
                    <a:gd name="connsiteX3" fmla="*/ 673100 w 673100"/>
                    <a:gd name="connsiteY3" fmla="*/ 0 h 127325"/>
                    <a:gd name="connsiteX4" fmla="*/ 0 w 673100"/>
                    <a:gd name="connsiteY4" fmla="*/ 5080 h 127325"/>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4622"/>
                    <a:gd name="connsiteX1" fmla="*/ 241300 w 673100"/>
                    <a:gd name="connsiteY1" fmla="*/ 121920 h 134622"/>
                    <a:gd name="connsiteX2" fmla="*/ 434340 w 673100"/>
                    <a:gd name="connsiteY2" fmla="*/ 127000 h 134622"/>
                    <a:gd name="connsiteX3" fmla="*/ 673100 w 673100"/>
                    <a:gd name="connsiteY3" fmla="*/ 0 h 134622"/>
                    <a:gd name="connsiteX4" fmla="*/ 0 w 673100"/>
                    <a:gd name="connsiteY4" fmla="*/ 5080 h 134622"/>
                    <a:gd name="connsiteX0" fmla="*/ 0 w 673100"/>
                    <a:gd name="connsiteY0" fmla="*/ 5080 h 136227"/>
                    <a:gd name="connsiteX1" fmla="*/ 241300 w 673100"/>
                    <a:gd name="connsiteY1" fmla="*/ 121920 h 136227"/>
                    <a:gd name="connsiteX2" fmla="*/ 434340 w 673100"/>
                    <a:gd name="connsiteY2" fmla="*/ 127000 h 136227"/>
                    <a:gd name="connsiteX3" fmla="*/ 673100 w 673100"/>
                    <a:gd name="connsiteY3" fmla="*/ 0 h 136227"/>
                    <a:gd name="connsiteX4" fmla="*/ 0 w 673100"/>
                    <a:gd name="connsiteY4" fmla="*/ 5080 h 136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00" h="136227">
                      <a:moveTo>
                        <a:pt x="0" y="5080"/>
                      </a:moveTo>
                      <a:cubicBezTo>
                        <a:pt x="423" y="32597"/>
                        <a:pt x="226483" y="106892"/>
                        <a:pt x="241300" y="121920"/>
                      </a:cubicBezTo>
                      <a:cubicBezTo>
                        <a:pt x="256117" y="136948"/>
                        <a:pt x="421428" y="142452"/>
                        <a:pt x="434340" y="127000"/>
                      </a:cubicBezTo>
                      <a:cubicBezTo>
                        <a:pt x="447252" y="111548"/>
                        <a:pt x="671618" y="23283"/>
                        <a:pt x="673100" y="0"/>
                      </a:cubicBezTo>
                      <a:lnTo>
                        <a:pt x="0" y="508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190" name="Oval 189"/>
              <p:cNvSpPr/>
              <p:nvPr/>
            </p:nvSpPr>
            <p:spPr>
              <a:xfrm rot="19080000" flipH="1">
                <a:off x="3521505" y="2435407"/>
                <a:ext cx="890063" cy="265634"/>
              </a:xfrm>
              <a:prstGeom prst="ellipse">
                <a:avLst/>
              </a:prstGeom>
              <a:gradFill flip="none" rotWithShape="1">
                <a:gsLst>
                  <a:gs pos="28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186" name="Oval 185"/>
            <p:cNvSpPr/>
            <p:nvPr/>
          </p:nvSpPr>
          <p:spPr>
            <a:xfrm>
              <a:off x="6247117" y="2512770"/>
              <a:ext cx="1162056" cy="1079812"/>
            </a:xfrm>
            <a:prstGeom prst="ellipse">
              <a:avLst/>
            </a:prstGeom>
            <a:gradFill flip="none" rotWithShape="1">
              <a:gsLst>
                <a:gs pos="32000">
                  <a:srgbClr val="00B0F0"/>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ysClr val="window" lastClr="FFFFFF"/>
                </a:solidFill>
                <a:latin typeface="Arial" panose="020B0604020202020204" pitchFamily="34" charset="0"/>
                <a:cs typeface="Arial" panose="020B0604020202020204" pitchFamily="34" charset="0"/>
              </a:endParaRPr>
            </a:p>
          </p:txBody>
        </p:sp>
      </p:grpSp>
      <p:grpSp>
        <p:nvGrpSpPr>
          <p:cNvPr id="206" name="Group 205"/>
          <p:cNvGrpSpPr/>
          <p:nvPr userDrawn="1"/>
        </p:nvGrpSpPr>
        <p:grpSpPr>
          <a:xfrm rot="1502371">
            <a:off x="6480848" y="857122"/>
            <a:ext cx="588708" cy="1040024"/>
            <a:chOff x="5869118" y="1864852"/>
            <a:chExt cx="1875650" cy="3313563"/>
          </a:xfrm>
        </p:grpSpPr>
        <p:grpSp>
          <p:nvGrpSpPr>
            <p:cNvPr id="207" name="Group 206"/>
            <p:cNvGrpSpPr/>
            <p:nvPr/>
          </p:nvGrpSpPr>
          <p:grpSpPr>
            <a:xfrm>
              <a:off x="5869118" y="1864852"/>
              <a:ext cx="1875650" cy="3313563"/>
              <a:chOff x="3509193" y="2208611"/>
              <a:chExt cx="2116248" cy="3738609"/>
            </a:xfrm>
          </p:grpSpPr>
          <p:sp>
            <p:nvSpPr>
              <p:cNvPr id="209" name="Freeform 208"/>
              <p:cNvSpPr/>
              <p:nvPr/>
            </p:nvSpPr>
            <p:spPr>
              <a:xfrm>
                <a:off x="3509193" y="2208611"/>
                <a:ext cx="2116248" cy="2832368"/>
              </a:xfrm>
              <a:custGeom>
                <a:avLst/>
                <a:gdLst>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88" h="1692915">
                    <a:moveTo>
                      <a:pt x="632444" y="0"/>
                    </a:moveTo>
                    <a:cubicBezTo>
                      <a:pt x="981735" y="7"/>
                      <a:pt x="1264888" y="283165"/>
                      <a:pt x="1264888" y="632458"/>
                    </a:cubicBezTo>
                    <a:cubicBezTo>
                      <a:pt x="1264888" y="722053"/>
                      <a:pt x="1243620" y="800469"/>
                      <a:pt x="1212119" y="884292"/>
                    </a:cubicBezTo>
                    <a:cubicBezTo>
                      <a:pt x="1180618" y="968115"/>
                      <a:pt x="1050676" y="1160843"/>
                      <a:pt x="1026175" y="1272920"/>
                    </a:cubicBezTo>
                    <a:cubicBezTo>
                      <a:pt x="1001674" y="1384997"/>
                      <a:pt x="991603" y="1515490"/>
                      <a:pt x="972341" y="1634870"/>
                    </a:cubicBezTo>
                    <a:cubicBezTo>
                      <a:pt x="968177" y="1660679"/>
                      <a:pt x="924730" y="1693412"/>
                      <a:pt x="888132" y="1692910"/>
                    </a:cubicBezTo>
                    <a:cubicBezTo>
                      <a:pt x="851534" y="1692408"/>
                      <a:pt x="429358" y="1692412"/>
                      <a:pt x="376023" y="1692910"/>
                    </a:cubicBezTo>
                    <a:cubicBezTo>
                      <a:pt x="322688" y="1693408"/>
                      <a:pt x="296690" y="1660741"/>
                      <a:pt x="292547" y="1635064"/>
                    </a:cubicBezTo>
                    <a:cubicBezTo>
                      <a:pt x="273285" y="1515684"/>
                      <a:pt x="263214" y="1385191"/>
                      <a:pt x="238713" y="1273114"/>
                    </a:cubicBezTo>
                    <a:cubicBezTo>
                      <a:pt x="214212" y="1161037"/>
                      <a:pt x="84270" y="968309"/>
                      <a:pt x="52769" y="884486"/>
                    </a:cubicBezTo>
                    <a:cubicBezTo>
                      <a:pt x="21268" y="800663"/>
                      <a:pt x="0" y="722247"/>
                      <a:pt x="0" y="632652"/>
                    </a:cubicBezTo>
                    <a:cubicBezTo>
                      <a:pt x="0" y="283359"/>
                      <a:pt x="283153" y="201"/>
                      <a:pt x="632444" y="194"/>
                    </a:cubicBezTo>
                    <a:lnTo>
                      <a:pt x="632444" y="0"/>
                    </a:lnTo>
                    <a:close/>
                  </a:path>
                </a:pathLst>
              </a:custGeom>
              <a:solidFill>
                <a:srgbClr val="00B0F0">
                  <a:alpha val="20000"/>
                </a:srgbClr>
              </a:solidFill>
              <a:ln>
                <a:noFill/>
              </a:ln>
              <a:effectLst/>
              <a:scene3d>
                <a:camera prst="orthographicFront">
                  <a:rot lat="0" lon="0" rev="0"/>
                </a:camera>
                <a:lightRig rig="twoPt" dir="t">
                  <a:rot lat="0" lon="0" rev="0"/>
                </a:lightRig>
              </a:scene3d>
              <a:sp3d prstMaterial="clear">
                <a:bevelT w="317500" h="1905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nvGrpSpPr>
              <p:cNvPr id="210" name="Group 209"/>
              <p:cNvGrpSpPr/>
              <p:nvPr/>
            </p:nvGrpSpPr>
            <p:grpSpPr>
              <a:xfrm>
                <a:off x="4221220" y="3554960"/>
                <a:ext cx="700181" cy="1502973"/>
                <a:chOff x="6480420" y="3161623"/>
                <a:chExt cx="813818" cy="1746901"/>
              </a:xfrm>
            </p:grpSpPr>
            <p:sp>
              <p:nvSpPr>
                <p:cNvPr id="219" name="Freeform 218"/>
                <p:cNvSpPr/>
                <p:nvPr/>
              </p:nvSpPr>
              <p:spPr>
                <a:xfrm>
                  <a:off x="6747926" y="4123689"/>
                  <a:ext cx="27850" cy="772043"/>
                </a:xfrm>
                <a:custGeom>
                  <a:avLst/>
                  <a:gdLst>
                    <a:gd name="connsiteX0" fmla="*/ 0 w 34290"/>
                    <a:gd name="connsiteY0" fmla="*/ 0 h 950595"/>
                    <a:gd name="connsiteX1" fmla="*/ 34290 w 34290"/>
                    <a:gd name="connsiteY1" fmla="*/ 950595 h 950595"/>
                  </a:gdLst>
                  <a:ahLst/>
                  <a:cxnLst>
                    <a:cxn ang="0">
                      <a:pos x="connsiteX0" y="connsiteY0"/>
                    </a:cxn>
                    <a:cxn ang="0">
                      <a:pos x="connsiteX1" y="connsiteY1"/>
                    </a:cxn>
                  </a:cxnLst>
                  <a:rect l="l" t="t" r="r" b="b"/>
                  <a:pathLst>
                    <a:path w="34290" h="950595">
                      <a:moveTo>
                        <a:pt x="0" y="0"/>
                      </a:moveTo>
                      <a:lnTo>
                        <a:pt x="34290" y="950595"/>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20" name="Freeform 219"/>
                <p:cNvSpPr/>
                <p:nvPr/>
              </p:nvSpPr>
              <p:spPr>
                <a:xfrm>
                  <a:off x="7003162" y="4123690"/>
                  <a:ext cx="21660" cy="770496"/>
                </a:xfrm>
                <a:custGeom>
                  <a:avLst/>
                  <a:gdLst>
                    <a:gd name="connsiteX0" fmla="*/ 26670 w 26670"/>
                    <a:gd name="connsiteY0" fmla="*/ 0 h 948690"/>
                    <a:gd name="connsiteX1" fmla="*/ 0 w 26670"/>
                    <a:gd name="connsiteY1" fmla="*/ 948690 h 948690"/>
                  </a:gdLst>
                  <a:ahLst/>
                  <a:cxnLst>
                    <a:cxn ang="0">
                      <a:pos x="connsiteX0" y="connsiteY0"/>
                    </a:cxn>
                    <a:cxn ang="0">
                      <a:pos x="connsiteX1" y="connsiteY1"/>
                    </a:cxn>
                  </a:cxnLst>
                  <a:rect l="l" t="t" r="r" b="b"/>
                  <a:pathLst>
                    <a:path w="26670" h="948690">
                      <a:moveTo>
                        <a:pt x="26670" y="0"/>
                      </a:moveTo>
                      <a:lnTo>
                        <a:pt x="0" y="948690"/>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21" name="Freeform 220"/>
                <p:cNvSpPr/>
                <p:nvPr/>
              </p:nvSpPr>
              <p:spPr>
                <a:xfrm>
                  <a:off x="6672271" y="3166397"/>
                  <a:ext cx="120681" cy="521400"/>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123 w 148713"/>
                    <a:gd name="connsiteY0" fmla="*/ 0 h 641985"/>
                    <a:gd name="connsiteX1" fmla="*/ 3933 w 148713"/>
                    <a:gd name="connsiteY1" fmla="*/ 110490 h 641985"/>
                    <a:gd name="connsiteX2" fmla="*/ 34413 w 148713"/>
                    <a:gd name="connsiteY2" fmla="*/ 129540 h 641985"/>
                    <a:gd name="connsiteX3" fmla="*/ 57273 w 148713"/>
                    <a:gd name="connsiteY3" fmla="*/ 87630 h 641985"/>
                    <a:gd name="connsiteX4" fmla="*/ 30603 w 148713"/>
                    <a:gd name="connsiteY4" fmla="*/ 57150 h 641985"/>
                    <a:gd name="connsiteX5" fmla="*/ 15363 w 148713"/>
                    <a:gd name="connsiteY5" fmla="*/ 144780 h 641985"/>
                    <a:gd name="connsiteX6" fmla="*/ 148713 w 148713"/>
                    <a:gd name="connsiteY6" fmla="*/ 641985 h 641985"/>
                    <a:gd name="connsiteX0" fmla="*/ 0 w 148590"/>
                    <a:gd name="connsiteY0" fmla="*/ 0 h 641985"/>
                    <a:gd name="connsiteX1" fmla="*/ 3810 w 148590"/>
                    <a:gd name="connsiteY1" fmla="*/ 110490 h 641985"/>
                    <a:gd name="connsiteX2" fmla="*/ 34290 w 148590"/>
                    <a:gd name="connsiteY2" fmla="*/ 129540 h 641985"/>
                    <a:gd name="connsiteX3" fmla="*/ 57150 w 148590"/>
                    <a:gd name="connsiteY3" fmla="*/ 87630 h 641985"/>
                    <a:gd name="connsiteX4" fmla="*/ 30480 w 148590"/>
                    <a:gd name="connsiteY4" fmla="*/ 57150 h 641985"/>
                    <a:gd name="connsiteX5" fmla="*/ 15240 w 148590"/>
                    <a:gd name="connsiteY5" fmla="*/ 144780 h 641985"/>
                    <a:gd name="connsiteX6" fmla="*/ 148590 w 148590"/>
                    <a:gd name="connsiteY6" fmla="*/ 641985 h 64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 h="641985">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931" y="57677"/>
                        <a:pt x="30480" y="57150"/>
                      </a:cubicBezTo>
                      <a:cubicBezTo>
                        <a:pt x="8255" y="56515"/>
                        <a:pt x="-4445" y="47308"/>
                        <a:pt x="15240" y="144780"/>
                      </a:cubicBezTo>
                      <a:cubicBezTo>
                        <a:pt x="34925" y="242253"/>
                        <a:pt x="104140" y="467995"/>
                        <a:pt x="148590" y="641985"/>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22" name="Freeform 221"/>
                <p:cNvSpPr/>
                <p:nvPr/>
              </p:nvSpPr>
              <p:spPr>
                <a:xfrm rot="21360000" flipH="1">
                  <a:off x="6946994" y="3161623"/>
                  <a:ext cx="116190" cy="521665"/>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061" h="642311">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877" y="55639"/>
                        <a:pt x="30480" y="57150"/>
                      </a:cubicBezTo>
                      <a:cubicBezTo>
                        <a:pt x="6441" y="59125"/>
                        <a:pt x="-3523" y="47253"/>
                        <a:pt x="15240" y="144780"/>
                      </a:cubicBezTo>
                      <a:cubicBezTo>
                        <a:pt x="34003" y="242307"/>
                        <a:pt x="98611" y="468321"/>
                        <a:pt x="143061" y="642311"/>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23" name="Freeform 222"/>
                <p:cNvSpPr/>
                <p:nvPr/>
              </p:nvSpPr>
              <p:spPr>
                <a:xfrm>
                  <a:off x="6480420" y="3237725"/>
                  <a:ext cx="812786" cy="82516"/>
                </a:xfrm>
                <a:custGeom>
                  <a:avLst/>
                  <a:gdLst>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1000760" h="101600">
                      <a:moveTo>
                        <a:pt x="0" y="86360"/>
                      </a:moveTo>
                      <a:cubicBezTo>
                        <a:pt x="143087" y="92287"/>
                        <a:pt x="174413" y="55033"/>
                        <a:pt x="261620" y="5080"/>
                      </a:cubicBezTo>
                      <a:cubicBezTo>
                        <a:pt x="395393" y="33867"/>
                        <a:pt x="516467" y="37253"/>
                        <a:pt x="662940" y="0"/>
                      </a:cubicBezTo>
                      <a:cubicBezTo>
                        <a:pt x="813647" y="69427"/>
                        <a:pt x="865293" y="90593"/>
                        <a:pt x="1000760" y="101600"/>
                      </a:cubicBezTo>
                    </a:path>
                  </a:pathLst>
                </a:custGeom>
                <a:noFill/>
                <a:ln w="19050" cap="rnd" cmpd="sng">
                  <a:solidFill>
                    <a:schemeClr val="tx1">
                      <a:lumMod val="50000"/>
                      <a:lumOff val="50000"/>
                    </a:schemeClr>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24" name="Freeform 223"/>
                <p:cNvSpPr/>
                <p:nvPr/>
              </p:nvSpPr>
              <p:spPr>
                <a:xfrm flipH="1">
                  <a:off x="6678460" y="3749170"/>
                  <a:ext cx="412581" cy="1159354"/>
                </a:xfrm>
                <a:custGeom>
                  <a:avLst/>
                  <a:gdLst/>
                  <a:ahLst/>
                  <a:cxnLst/>
                  <a:rect l="l" t="t" r="r" b="b"/>
                  <a:pathLst>
                    <a:path w="508000" h="1427480">
                      <a:moveTo>
                        <a:pt x="254000" y="647700"/>
                      </a:moveTo>
                      <a:cubicBezTo>
                        <a:pt x="294681" y="647700"/>
                        <a:pt x="327660" y="680679"/>
                        <a:pt x="327660" y="721360"/>
                      </a:cubicBezTo>
                      <a:cubicBezTo>
                        <a:pt x="327660" y="762041"/>
                        <a:pt x="294681" y="795020"/>
                        <a:pt x="254000" y="795020"/>
                      </a:cubicBezTo>
                      <a:cubicBezTo>
                        <a:pt x="213319" y="795020"/>
                        <a:pt x="180340" y="762041"/>
                        <a:pt x="180340" y="721360"/>
                      </a:cubicBezTo>
                      <a:cubicBezTo>
                        <a:pt x="180340" y="680679"/>
                        <a:pt x="213319" y="647700"/>
                        <a:pt x="254000" y="647700"/>
                      </a:cubicBezTo>
                      <a:close/>
                      <a:moveTo>
                        <a:pt x="325120" y="0"/>
                      </a:moveTo>
                      <a:lnTo>
                        <a:pt x="254000" y="2453"/>
                      </a:lnTo>
                      <a:lnTo>
                        <a:pt x="182880" y="0"/>
                      </a:lnTo>
                      <a:lnTo>
                        <a:pt x="182880" y="375920"/>
                      </a:lnTo>
                      <a:cubicBezTo>
                        <a:pt x="178647" y="395393"/>
                        <a:pt x="191135" y="416348"/>
                        <a:pt x="170180" y="434340"/>
                      </a:cubicBezTo>
                      <a:cubicBezTo>
                        <a:pt x="149225" y="452332"/>
                        <a:pt x="11007" y="447040"/>
                        <a:pt x="10160" y="551180"/>
                      </a:cubicBezTo>
                      <a:cubicBezTo>
                        <a:pt x="9313" y="655320"/>
                        <a:pt x="53975" y="768138"/>
                        <a:pt x="53340" y="817880"/>
                      </a:cubicBezTo>
                      <a:cubicBezTo>
                        <a:pt x="52705" y="867622"/>
                        <a:pt x="0" y="937472"/>
                        <a:pt x="0" y="995680"/>
                      </a:cubicBezTo>
                      <a:lnTo>
                        <a:pt x="0" y="1427480"/>
                      </a:lnTo>
                      <a:lnTo>
                        <a:pt x="254000" y="1427480"/>
                      </a:lnTo>
                      <a:lnTo>
                        <a:pt x="508000" y="1427480"/>
                      </a:lnTo>
                      <a:lnTo>
                        <a:pt x="508000" y="995680"/>
                      </a:lnTo>
                      <a:cubicBezTo>
                        <a:pt x="508000" y="937472"/>
                        <a:pt x="455295" y="867622"/>
                        <a:pt x="454660" y="817880"/>
                      </a:cubicBezTo>
                      <a:cubicBezTo>
                        <a:pt x="454025" y="768138"/>
                        <a:pt x="498687" y="655320"/>
                        <a:pt x="497840" y="551180"/>
                      </a:cubicBezTo>
                      <a:cubicBezTo>
                        <a:pt x="496993" y="447040"/>
                        <a:pt x="358775" y="452332"/>
                        <a:pt x="337820" y="434340"/>
                      </a:cubicBezTo>
                      <a:cubicBezTo>
                        <a:pt x="316865" y="416348"/>
                        <a:pt x="329353" y="395393"/>
                        <a:pt x="325120" y="375920"/>
                      </a:cubicBezTo>
                      <a:close/>
                    </a:path>
                  </a:pathLst>
                </a:custGeom>
                <a:solidFill>
                  <a:schemeClr val="bg1">
                    <a:alpha val="20000"/>
                  </a:schemeClr>
                </a:solidFill>
                <a:ln>
                  <a:noFill/>
                </a:ln>
                <a:effectLst/>
                <a:scene3d>
                  <a:camera prst="orthographicFront">
                    <a:rot lat="0" lon="0" rev="0"/>
                  </a:camera>
                  <a:lightRig rig="chilly" dir="t"/>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25" name="Freeform 224"/>
                <p:cNvSpPr/>
                <p:nvPr/>
              </p:nvSpPr>
              <p:spPr>
                <a:xfrm>
                  <a:off x="6480420"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26" name="Freeform 225"/>
                <p:cNvSpPr/>
                <p:nvPr/>
              </p:nvSpPr>
              <p:spPr>
                <a:xfrm flipH="1">
                  <a:off x="7028123"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27" name="Rounded Rectangle 226"/>
                <p:cNvSpPr/>
                <p:nvPr/>
              </p:nvSpPr>
              <p:spPr>
                <a:xfrm>
                  <a:off x="6771291" y="3686870"/>
                  <a:ext cx="222795" cy="61888"/>
                </a:xfrm>
                <a:prstGeom prst="roundRect">
                  <a:avLst>
                    <a:gd name="adj" fmla="val 50000"/>
                  </a:avLst>
                </a:prstGeom>
                <a:solidFill>
                  <a:schemeClr val="bg1">
                    <a:alpha val="2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grpSp>
            <p:nvGrpSpPr>
              <p:cNvPr id="211" name="Group 210"/>
              <p:cNvGrpSpPr/>
              <p:nvPr/>
            </p:nvGrpSpPr>
            <p:grpSpPr>
              <a:xfrm>
                <a:off x="4077456" y="5030272"/>
                <a:ext cx="983340" cy="916948"/>
                <a:chOff x="4077456" y="5030272"/>
                <a:chExt cx="983340" cy="916948"/>
              </a:xfrm>
            </p:grpSpPr>
            <p:sp>
              <p:nvSpPr>
                <p:cNvPr id="213" name="Freeform 212"/>
                <p:cNvSpPr/>
                <p:nvPr/>
              </p:nvSpPr>
              <p:spPr>
                <a:xfrm>
                  <a:off x="4077456" y="5030272"/>
                  <a:ext cx="983340" cy="827082"/>
                </a:xfrm>
                <a:custGeom>
                  <a:avLst/>
                  <a:gdLst>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303"/>
                    <a:gd name="connsiteY0" fmla="*/ 0 h 1183640"/>
                    <a:gd name="connsiteX1" fmla="*/ 1402080 w 1407303"/>
                    <a:gd name="connsiteY1" fmla="*/ 177800 h 1183640"/>
                    <a:gd name="connsiteX2" fmla="*/ 1325880 w 1407303"/>
                    <a:gd name="connsiteY2" fmla="*/ 238760 h 1183640"/>
                    <a:gd name="connsiteX3" fmla="*/ 1407160 w 1407303"/>
                    <a:gd name="connsiteY3" fmla="*/ 340360 h 1183640"/>
                    <a:gd name="connsiteX4" fmla="*/ 1330960 w 1407303"/>
                    <a:gd name="connsiteY4" fmla="*/ 421640 h 1183640"/>
                    <a:gd name="connsiteX5" fmla="*/ 1402080 w 1407303"/>
                    <a:gd name="connsiteY5" fmla="*/ 518160 h 1183640"/>
                    <a:gd name="connsiteX6" fmla="*/ 1325880 w 1407303"/>
                    <a:gd name="connsiteY6" fmla="*/ 589280 h 1183640"/>
                    <a:gd name="connsiteX7" fmla="*/ 1407160 w 1407303"/>
                    <a:gd name="connsiteY7" fmla="*/ 690880 h 1183640"/>
                    <a:gd name="connsiteX8" fmla="*/ 1325880 w 1407303"/>
                    <a:gd name="connsiteY8" fmla="*/ 772160 h 1183640"/>
                    <a:gd name="connsiteX9" fmla="*/ 1407160 w 1407303"/>
                    <a:gd name="connsiteY9" fmla="*/ 863600 h 1183640"/>
                    <a:gd name="connsiteX10" fmla="*/ 1366520 w 1407303"/>
                    <a:gd name="connsiteY10" fmla="*/ 980440 h 1183640"/>
                    <a:gd name="connsiteX11" fmla="*/ 1036320 w 1407303"/>
                    <a:gd name="connsiteY11" fmla="*/ 1178560 h 1183640"/>
                    <a:gd name="connsiteX12" fmla="*/ 381000 w 1407303"/>
                    <a:gd name="connsiteY12" fmla="*/ 1183640 h 1183640"/>
                    <a:gd name="connsiteX13" fmla="*/ 15240 w 1407303"/>
                    <a:gd name="connsiteY13" fmla="*/ 899160 h 1183640"/>
                    <a:gd name="connsiteX14" fmla="*/ 71120 w 1407303"/>
                    <a:gd name="connsiteY14" fmla="*/ 812800 h 1183640"/>
                    <a:gd name="connsiteX15" fmla="*/ 0 w 1407303"/>
                    <a:gd name="connsiteY15" fmla="*/ 736600 h 1183640"/>
                    <a:gd name="connsiteX16" fmla="*/ 81280 w 1407303"/>
                    <a:gd name="connsiteY16" fmla="*/ 624840 h 1183640"/>
                    <a:gd name="connsiteX17" fmla="*/ 10160 w 1407303"/>
                    <a:gd name="connsiteY17" fmla="*/ 548640 h 1183640"/>
                    <a:gd name="connsiteX18" fmla="*/ 76200 w 1407303"/>
                    <a:gd name="connsiteY18" fmla="*/ 462280 h 1183640"/>
                    <a:gd name="connsiteX19" fmla="*/ 5080 w 1407303"/>
                    <a:gd name="connsiteY19" fmla="*/ 370840 h 1183640"/>
                    <a:gd name="connsiteX20" fmla="*/ 81280 w 1407303"/>
                    <a:gd name="connsiteY20" fmla="*/ 274320 h 1183640"/>
                    <a:gd name="connsiteX21" fmla="*/ 15240 w 1407303"/>
                    <a:gd name="connsiteY21" fmla="*/ 218440 h 1183640"/>
                    <a:gd name="connsiteX22" fmla="*/ 5080 w 1407303"/>
                    <a:gd name="connsiteY22" fmla="*/ 5080 h 1183640"/>
                    <a:gd name="connsiteX23" fmla="*/ 1402080 w 1407303"/>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9 w 1407263"/>
                    <a:gd name="connsiteY0" fmla="*/ 0 h 1183640"/>
                    <a:gd name="connsiteX1" fmla="*/ 1402089 w 1407263"/>
                    <a:gd name="connsiteY1" fmla="*/ 177800 h 1183640"/>
                    <a:gd name="connsiteX2" fmla="*/ 1325889 w 1407263"/>
                    <a:gd name="connsiteY2" fmla="*/ 238760 h 1183640"/>
                    <a:gd name="connsiteX3" fmla="*/ 1407169 w 1407263"/>
                    <a:gd name="connsiteY3" fmla="*/ 340360 h 1183640"/>
                    <a:gd name="connsiteX4" fmla="*/ 1330969 w 1407263"/>
                    <a:gd name="connsiteY4" fmla="*/ 421640 h 1183640"/>
                    <a:gd name="connsiteX5" fmla="*/ 1402089 w 1407263"/>
                    <a:gd name="connsiteY5" fmla="*/ 518160 h 1183640"/>
                    <a:gd name="connsiteX6" fmla="*/ 1325889 w 1407263"/>
                    <a:gd name="connsiteY6" fmla="*/ 589280 h 1183640"/>
                    <a:gd name="connsiteX7" fmla="*/ 1407169 w 1407263"/>
                    <a:gd name="connsiteY7" fmla="*/ 690880 h 1183640"/>
                    <a:gd name="connsiteX8" fmla="*/ 1325889 w 1407263"/>
                    <a:gd name="connsiteY8" fmla="*/ 772160 h 1183640"/>
                    <a:gd name="connsiteX9" fmla="*/ 1407169 w 1407263"/>
                    <a:gd name="connsiteY9" fmla="*/ 863600 h 1183640"/>
                    <a:gd name="connsiteX10" fmla="*/ 1366529 w 1407263"/>
                    <a:gd name="connsiteY10" fmla="*/ 980440 h 1183640"/>
                    <a:gd name="connsiteX11" fmla="*/ 1036329 w 1407263"/>
                    <a:gd name="connsiteY11" fmla="*/ 1178560 h 1183640"/>
                    <a:gd name="connsiteX12" fmla="*/ 381009 w 1407263"/>
                    <a:gd name="connsiteY12" fmla="*/ 1183640 h 1183640"/>
                    <a:gd name="connsiteX13" fmla="*/ 15249 w 1407263"/>
                    <a:gd name="connsiteY13" fmla="*/ 899160 h 1183640"/>
                    <a:gd name="connsiteX14" fmla="*/ 71129 w 1407263"/>
                    <a:gd name="connsiteY14" fmla="*/ 812800 h 1183640"/>
                    <a:gd name="connsiteX15" fmla="*/ 9 w 1407263"/>
                    <a:gd name="connsiteY15" fmla="*/ 736600 h 1183640"/>
                    <a:gd name="connsiteX16" fmla="*/ 81289 w 1407263"/>
                    <a:gd name="connsiteY16" fmla="*/ 624840 h 1183640"/>
                    <a:gd name="connsiteX17" fmla="*/ 10169 w 1407263"/>
                    <a:gd name="connsiteY17" fmla="*/ 548640 h 1183640"/>
                    <a:gd name="connsiteX18" fmla="*/ 76209 w 1407263"/>
                    <a:gd name="connsiteY18" fmla="*/ 462280 h 1183640"/>
                    <a:gd name="connsiteX19" fmla="*/ 5089 w 1407263"/>
                    <a:gd name="connsiteY19" fmla="*/ 370840 h 1183640"/>
                    <a:gd name="connsiteX20" fmla="*/ 81289 w 1407263"/>
                    <a:gd name="connsiteY20" fmla="*/ 274320 h 1183640"/>
                    <a:gd name="connsiteX21" fmla="*/ 15249 w 1407263"/>
                    <a:gd name="connsiteY21" fmla="*/ 218440 h 1183640"/>
                    <a:gd name="connsiteX22" fmla="*/ 5089 w 1407263"/>
                    <a:gd name="connsiteY22" fmla="*/ 5080 h 1183640"/>
                    <a:gd name="connsiteX23" fmla="*/ 1402089 w 1407263"/>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7627 w 1407261"/>
                    <a:gd name="connsiteY21" fmla="*/ 215900 h 1183640"/>
                    <a:gd name="connsiteX22" fmla="*/ 5087 w 1407261"/>
                    <a:gd name="connsiteY22" fmla="*/ 5080 h 1183640"/>
                    <a:gd name="connsiteX23" fmla="*/ 1402087 w 1407261"/>
                    <a:gd name="connsiteY23" fmla="*/ 0 h 118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07261" h="1183640">
                      <a:moveTo>
                        <a:pt x="1402087" y="0"/>
                      </a:moveTo>
                      <a:lnTo>
                        <a:pt x="1402087" y="177800"/>
                      </a:lnTo>
                      <a:cubicBezTo>
                        <a:pt x="1376687" y="198120"/>
                        <a:pt x="1326734" y="209973"/>
                        <a:pt x="1325887" y="238760"/>
                      </a:cubicBezTo>
                      <a:cubicBezTo>
                        <a:pt x="1325040" y="267547"/>
                        <a:pt x="1407167" y="318347"/>
                        <a:pt x="1407167" y="340360"/>
                      </a:cubicBezTo>
                      <a:cubicBezTo>
                        <a:pt x="1407167" y="362373"/>
                        <a:pt x="1319960" y="381847"/>
                        <a:pt x="1330967" y="421640"/>
                      </a:cubicBezTo>
                      <a:cubicBezTo>
                        <a:pt x="1341974" y="461433"/>
                        <a:pt x="1407167" y="494453"/>
                        <a:pt x="1402087" y="518160"/>
                      </a:cubicBezTo>
                      <a:cubicBezTo>
                        <a:pt x="1397007" y="541867"/>
                        <a:pt x="1326734" y="552873"/>
                        <a:pt x="1325887" y="589280"/>
                      </a:cubicBezTo>
                      <a:cubicBezTo>
                        <a:pt x="1325040" y="625687"/>
                        <a:pt x="1403780" y="658707"/>
                        <a:pt x="1407167" y="690880"/>
                      </a:cubicBezTo>
                      <a:cubicBezTo>
                        <a:pt x="1410554" y="723053"/>
                        <a:pt x="1321654" y="736600"/>
                        <a:pt x="1325887" y="772160"/>
                      </a:cubicBezTo>
                      <a:cubicBezTo>
                        <a:pt x="1330120" y="807720"/>
                        <a:pt x="1380074" y="833120"/>
                        <a:pt x="1407167" y="863600"/>
                      </a:cubicBezTo>
                      <a:cubicBezTo>
                        <a:pt x="1393620" y="902547"/>
                        <a:pt x="1390234" y="944880"/>
                        <a:pt x="1366527" y="980440"/>
                      </a:cubicBezTo>
                      <a:cubicBezTo>
                        <a:pt x="1342820" y="1016000"/>
                        <a:pt x="1100674" y="1145540"/>
                        <a:pt x="1036327" y="1178560"/>
                      </a:cubicBezTo>
                      <a:lnTo>
                        <a:pt x="381007" y="1183640"/>
                      </a:lnTo>
                      <a:cubicBezTo>
                        <a:pt x="200667" y="1098973"/>
                        <a:pt x="25407" y="996527"/>
                        <a:pt x="15247" y="899160"/>
                      </a:cubicBezTo>
                      <a:cubicBezTo>
                        <a:pt x="33874" y="870373"/>
                        <a:pt x="75360" y="836507"/>
                        <a:pt x="71127" y="812800"/>
                      </a:cubicBezTo>
                      <a:cubicBezTo>
                        <a:pt x="66894" y="789093"/>
                        <a:pt x="854" y="764540"/>
                        <a:pt x="7" y="736600"/>
                      </a:cubicBezTo>
                      <a:cubicBezTo>
                        <a:pt x="-840" y="708660"/>
                        <a:pt x="79594" y="654473"/>
                        <a:pt x="81287" y="624840"/>
                      </a:cubicBezTo>
                      <a:cubicBezTo>
                        <a:pt x="82980" y="595207"/>
                        <a:pt x="5934" y="581660"/>
                        <a:pt x="10167" y="548640"/>
                      </a:cubicBezTo>
                      <a:cubicBezTo>
                        <a:pt x="14400" y="515620"/>
                        <a:pt x="77054" y="488527"/>
                        <a:pt x="76207" y="462280"/>
                      </a:cubicBezTo>
                      <a:cubicBezTo>
                        <a:pt x="75360" y="436033"/>
                        <a:pt x="854" y="396240"/>
                        <a:pt x="5087" y="370840"/>
                      </a:cubicBezTo>
                      <a:cubicBezTo>
                        <a:pt x="9320" y="345440"/>
                        <a:pt x="80864" y="300143"/>
                        <a:pt x="81287" y="274320"/>
                      </a:cubicBezTo>
                      <a:cubicBezTo>
                        <a:pt x="81710" y="248497"/>
                        <a:pt x="29640" y="234527"/>
                        <a:pt x="7627" y="215900"/>
                      </a:cubicBezTo>
                      <a:cubicBezTo>
                        <a:pt x="6780" y="145627"/>
                        <a:pt x="5934" y="75353"/>
                        <a:pt x="5087" y="5080"/>
                      </a:cubicBezTo>
                      <a:lnTo>
                        <a:pt x="1402087" y="0"/>
                      </a:lnTo>
                      <a:close/>
                    </a:path>
                  </a:pathLst>
                </a:custGeom>
                <a:gradFill flip="none" rotWithShape="1">
                  <a:gsLst>
                    <a:gs pos="0">
                      <a:schemeClr val="bg1">
                        <a:lumMod val="30000"/>
                      </a:schemeClr>
                    </a:gs>
                    <a:gs pos="85000">
                      <a:schemeClr val="bg1">
                        <a:lumMod val="95000"/>
                      </a:schemeClr>
                    </a:gs>
                    <a:gs pos="42000">
                      <a:srgbClr val="B6B6B6">
                        <a:lumMod val="95000"/>
                      </a:srgbClr>
                    </a:gs>
                    <a:gs pos="70000">
                      <a:schemeClr val="bg1">
                        <a:lumMod val="66000"/>
                      </a:schemeClr>
                    </a:gs>
                    <a:gs pos="100000">
                      <a:schemeClr val="bg1">
                        <a:lumMod val="3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14" name="Freeform 213"/>
                <p:cNvSpPr/>
                <p:nvPr/>
              </p:nvSpPr>
              <p:spPr>
                <a:xfrm>
                  <a:off x="4088110" y="5582219"/>
                  <a:ext cx="972621" cy="141683"/>
                </a:xfrm>
                <a:custGeom>
                  <a:avLst/>
                  <a:gdLst/>
                  <a:ahLst/>
                  <a:cxnLst/>
                  <a:rect l="l" t="t" r="r" b="b"/>
                  <a:pathLst>
                    <a:path w="1391920" h="202763">
                      <a:moveTo>
                        <a:pt x="1319213" y="0"/>
                      </a:moveTo>
                      <a:cubicBezTo>
                        <a:pt x="1334296" y="26053"/>
                        <a:pt x="1370352" y="47098"/>
                        <a:pt x="1391920" y="71362"/>
                      </a:cubicBezTo>
                      <a:lnTo>
                        <a:pt x="1381165" y="110247"/>
                      </a:lnTo>
                      <a:lnTo>
                        <a:pt x="58123" y="202763"/>
                      </a:lnTo>
                      <a:cubicBezTo>
                        <a:pt x="24364" y="171244"/>
                        <a:pt x="3328" y="138811"/>
                        <a:pt x="0" y="106922"/>
                      </a:cubicBezTo>
                      <a:lnTo>
                        <a:pt x="11949" y="9141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15" name="Freeform 214"/>
                <p:cNvSpPr/>
                <p:nvPr/>
              </p:nvSpPr>
              <p:spPr>
                <a:xfrm>
                  <a:off x="4077456" y="5459198"/>
                  <a:ext cx="983340" cy="141952"/>
                </a:xfrm>
                <a:custGeom>
                  <a:avLst/>
                  <a:gdLst/>
                  <a:ahLst/>
                  <a:cxnLst/>
                  <a:rect l="l" t="t" r="r" b="b"/>
                  <a:pathLst>
                    <a:path w="1407261" h="203148">
                      <a:moveTo>
                        <a:pt x="1336797" y="0"/>
                      </a:moveTo>
                      <a:cubicBezTo>
                        <a:pt x="1357661" y="27201"/>
                        <a:pt x="1404570" y="52371"/>
                        <a:pt x="1407167" y="77042"/>
                      </a:cubicBezTo>
                      <a:cubicBezTo>
                        <a:pt x="1408668" y="91297"/>
                        <a:pt x="1392052" y="101895"/>
                        <a:pt x="1373255" y="112030"/>
                      </a:cubicBezTo>
                      <a:lnTo>
                        <a:pt x="70196" y="203148"/>
                      </a:lnTo>
                      <a:cubicBezTo>
                        <a:pt x="71464" y="201748"/>
                        <a:pt x="71373" y="200338"/>
                        <a:pt x="71127" y="198962"/>
                      </a:cubicBezTo>
                      <a:cubicBezTo>
                        <a:pt x="66894" y="175255"/>
                        <a:pt x="854" y="150702"/>
                        <a:pt x="7" y="122762"/>
                      </a:cubicBezTo>
                      <a:cubicBezTo>
                        <a:pt x="-246" y="114413"/>
                        <a:pt x="6760" y="103719"/>
                        <a:pt x="17044" y="92286"/>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16" name="Freeform 215"/>
                <p:cNvSpPr/>
                <p:nvPr/>
              </p:nvSpPr>
              <p:spPr>
                <a:xfrm>
                  <a:off x="4084442" y="5334842"/>
                  <a:ext cx="972935" cy="141885"/>
                </a:xfrm>
                <a:custGeom>
                  <a:avLst/>
                  <a:gdLst/>
                  <a:ahLst/>
                  <a:cxnLst/>
                  <a:rect l="l" t="t" r="r" b="b"/>
                  <a:pathLst>
                    <a:path w="1392370" h="203052">
                      <a:moveTo>
                        <a:pt x="1329184" y="0"/>
                      </a:moveTo>
                      <a:cubicBezTo>
                        <a:pt x="1347693" y="33963"/>
                        <a:pt x="1396511" y="61654"/>
                        <a:pt x="1392089" y="82288"/>
                      </a:cubicBezTo>
                      <a:cubicBezTo>
                        <a:pt x="1389561" y="94086"/>
                        <a:pt x="1370889" y="102738"/>
                        <a:pt x="1352660" y="112938"/>
                      </a:cubicBezTo>
                      <a:lnTo>
                        <a:pt x="63968" y="203052"/>
                      </a:lnTo>
                      <a:cubicBezTo>
                        <a:pt x="68944" y="198570"/>
                        <a:pt x="71031" y="193484"/>
                        <a:pt x="71289" y="188968"/>
                      </a:cubicBezTo>
                      <a:cubicBezTo>
                        <a:pt x="72982" y="159335"/>
                        <a:pt x="-4064" y="145788"/>
                        <a:pt x="169" y="112768"/>
                      </a:cubicBezTo>
                      <a:lnTo>
                        <a:pt x="10766" y="9219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17" name="Freeform 216"/>
                <p:cNvSpPr/>
                <p:nvPr/>
              </p:nvSpPr>
              <p:spPr>
                <a:xfrm>
                  <a:off x="4080889" y="5208287"/>
                  <a:ext cx="979841" cy="141561"/>
                </a:xfrm>
                <a:custGeom>
                  <a:avLst/>
                  <a:gdLst/>
                  <a:ahLst/>
                  <a:cxnLst/>
                  <a:rect l="l" t="t" r="r" b="b"/>
                  <a:pathLst>
                    <a:path w="1402254" h="202589">
                      <a:moveTo>
                        <a:pt x="1327165" y="0"/>
                      </a:moveTo>
                      <a:cubicBezTo>
                        <a:pt x="1345502" y="29113"/>
                        <a:pt x="1402254" y="67305"/>
                        <a:pt x="1402254" y="85604"/>
                      </a:cubicBezTo>
                      <a:cubicBezTo>
                        <a:pt x="1402254" y="94165"/>
                        <a:pt x="1389065" y="102342"/>
                        <a:pt x="1373510" y="111338"/>
                      </a:cubicBezTo>
                      <a:lnTo>
                        <a:pt x="68561" y="202589"/>
                      </a:lnTo>
                      <a:cubicBezTo>
                        <a:pt x="60713" y="175951"/>
                        <a:pt x="-3772" y="139763"/>
                        <a:pt x="174" y="116084"/>
                      </a:cubicBezTo>
                      <a:cubicBezTo>
                        <a:pt x="1332" y="109136"/>
                        <a:pt x="7527" y="100699"/>
                        <a:pt x="16039" y="91683"/>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18" name="Freeform 217"/>
                <p:cNvSpPr/>
                <p:nvPr/>
              </p:nvSpPr>
              <p:spPr>
                <a:xfrm>
                  <a:off x="4336590" y="5852030"/>
                  <a:ext cx="470337" cy="95190"/>
                </a:xfrm>
                <a:custGeom>
                  <a:avLst/>
                  <a:gdLst>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325"/>
                    <a:gd name="connsiteX1" fmla="*/ 241300 w 673100"/>
                    <a:gd name="connsiteY1" fmla="*/ 121920 h 127325"/>
                    <a:gd name="connsiteX2" fmla="*/ 434340 w 673100"/>
                    <a:gd name="connsiteY2" fmla="*/ 127000 h 127325"/>
                    <a:gd name="connsiteX3" fmla="*/ 673100 w 673100"/>
                    <a:gd name="connsiteY3" fmla="*/ 0 h 127325"/>
                    <a:gd name="connsiteX4" fmla="*/ 0 w 673100"/>
                    <a:gd name="connsiteY4" fmla="*/ 5080 h 127325"/>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4622"/>
                    <a:gd name="connsiteX1" fmla="*/ 241300 w 673100"/>
                    <a:gd name="connsiteY1" fmla="*/ 121920 h 134622"/>
                    <a:gd name="connsiteX2" fmla="*/ 434340 w 673100"/>
                    <a:gd name="connsiteY2" fmla="*/ 127000 h 134622"/>
                    <a:gd name="connsiteX3" fmla="*/ 673100 w 673100"/>
                    <a:gd name="connsiteY3" fmla="*/ 0 h 134622"/>
                    <a:gd name="connsiteX4" fmla="*/ 0 w 673100"/>
                    <a:gd name="connsiteY4" fmla="*/ 5080 h 134622"/>
                    <a:gd name="connsiteX0" fmla="*/ 0 w 673100"/>
                    <a:gd name="connsiteY0" fmla="*/ 5080 h 136227"/>
                    <a:gd name="connsiteX1" fmla="*/ 241300 w 673100"/>
                    <a:gd name="connsiteY1" fmla="*/ 121920 h 136227"/>
                    <a:gd name="connsiteX2" fmla="*/ 434340 w 673100"/>
                    <a:gd name="connsiteY2" fmla="*/ 127000 h 136227"/>
                    <a:gd name="connsiteX3" fmla="*/ 673100 w 673100"/>
                    <a:gd name="connsiteY3" fmla="*/ 0 h 136227"/>
                    <a:gd name="connsiteX4" fmla="*/ 0 w 673100"/>
                    <a:gd name="connsiteY4" fmla="*/ 5080 h 136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00" h="136227">
                      <a:moveTo>
                        <a:pt x="0" y="5080"/>
                      </a:moveTo>
                      <a:cubicBezTo>
                        <a:pt x="423" y="32597"/>
                        <a:pt x="226483" y="106892"/>
                        <a:pt x="241300" y="121920"/>
                      </a:cubicBezTo>
                      <a:cubicBezTo>
                        <a:pt x="256117" y="136948"/>
                        <a:pt x="421428" y="142452"/>
                        <a:pt x="434340" y="127000"/>
                      </a:cubicBezTo>
                      <a:cubicBezTo>
                        <a:pt x="447252" y="111548"/>
                        <a:pt x="671618" y="23283"/>
                        <a:pt x="673100" y="0"/>
                      </a:cubicBezTo>
                      <a:lnTo>
                        <a:pt x="0" y="508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212" name="Oval 211"/>
              <p:cNvSpPr/>
              <p:nvPr/>
            </p:nvSpPr>
            <p:spPr>
              <a:xfrm rot="19080000" flipH="1">
                <a:off x="3521505" y="2435407"/>
                <a:ext cx="890063" cy="265634"/>
              </a:xfrm>
              <a:prstGeom prst="ellipse">
                <a:avLst/>
              </a:prstGeom>
              <a:gradFill flip="none" rotWithShape="1">
                <a:gsLst>
                  <a:gs pos="28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208" name="Oval 207"/>
            <p:cNvSpPr/>
            <p:nvPr/>
          </p:nvSpPr>
          <p:spPr>
            <a:xfrm>
              <a:off x="6247117" y="2512770"/>
              <a:ext cx="1162056" cy="1079812"/>
            </a:xfrm>
            <a:prstGeom prst="ellipse">
              <a:avLst/>
            </a:prstGeom>
            <a:gradFill flip="none" rotWithShape="1">
              <a:gsLst>
                <a:gs pos="32000">
                  <a:srgbClr val="00B0F0"/>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ysClr val="window" lastClr="FFFFFF"/>
                </a:solidFill>
                <a:latin typeface="Arial" panose="020B0604020202020204" pitchFamily="34" charset="0"/>
                <a:cs typeface="Arial" panose="020B0604020202020204" pitchFamily="34" charset="0"/>
              </a:endParaRPr>
            </a:p>
          </p:txBody>
        </p:sp>
      </p:grpSp>
      <p:grpSp>
        <p:nvGrpSpPr>
          <p:cNvPr id="228" name="Group 227"/>
          <p:cNvGrpSpPr/>
          <p:nvPr userDrawn="1"/>
        </p:nvGrpSpPr>
        <p:grpSpPr>
          <a:xfrm rot="3986291">
            <a:off x="6761016" y="2662918"/>
            <a:ext cx="588708" cy="1040024"/>
            <a:chOff x="5869118" y="1864852"/>
            <a:chExt cx="1875650" cy="3313563"/>
          </a:xfrm>
        </p:grpSpPr>
        <p:grpSp>
          <p:nvGrpSpPr>
            <p:cNvPr id="229" name="Group 228"/>
            <p:cNvGrpSpPr/>
            <p:nvPr/>
          </p:nvGrpSpPr>
          <p:grpSpPr>
            <a:xfrm>
              <a:off x="5869118" y="1864852"/>
              <a:ext cx="1875650" cy="3313563"/>
              <a:chOff x="3509193" y="2208611"/>
              <a:chExt cx="2116248" cy="3738609"/>
            </a:xfrm>
          </p:grpSpPr>
          <p:sp>
            <p:nvSpPr>
              <p:cNvPr id="231" name="Freeform 230"/>
              <p:cNvSpPr/>
              <p:nvPr/>
            </p:nvSpPr>
            <p:spPr>
              <a:xfrm>
                <a:off x="3509193" y="2208611"/>
                <a:ext cx="2116248" cy="2832368"/>
              </a:xfrm>
              <a:custGeom>
                <a:avLst/>
                <a:gdLst>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88" h="1692915">
                    <a:moveTo>
                      <a:pt x="632444" y="0"/>
                    </a:moveTo>
                    <a:cubicBezTo>
                      <a:pt x="981735" y="7"/>
                      <a:pt x="1264888" y="283165"/>
                      <a:pt x="1264888" y="632458"/>
                    </a:cubicBezTo>
                    <a:cubicBezTo>
                      <a:pt x="1264888" y="722053"/>
                      <a:pt x="1243620" y="800469"/>
                      <a:pt x="1212119" y="884292"/>
                    </a:cubicBezTo>
                    <a:cubicBezTo>
                      <a:pt x="1180618" y="968115"/>
                      <a:pt x="1050676" y="1160843"/>
                      <a:pt x="1026175" y="1272920"/>
                    </a:cubicBezTo>
                    <a:cubicBezTo>
                      <a:pt x="1001674" y="1384997"/>
                      <a:pt x="991603" y="1515490"/>
                      <a:pt x="972341" y="1634870"/>
                    </a:cubicBezTo>
                    <a:cubicBezTo>
                      <a:pt x="968177" y="1660679"/>
                      <a:pt x="924730" y="1693412"/>
                      <a:pt x="888132" y="1692910"/>
                    </a:cubicBezTo>
                    <a:cubicBezTo>
                      <a:pt x="851534" y="1692408"/>
                      <a:pt x="429358" y="1692412"/>
                      <a:pt x="376023" y="1692910"/>
                    </a:cubicBezTo>
                    <a:cubicBezTo>
                      <a:pt x="322688" y="1693408"/>
                      <a:pt x="296690" y="1660741"/>
                      <a:pt x="292547" y="1635064"/>
                    </a:cubicBezTo>
                    <a:cubicBezTo>
                      <a:pt x="273285" y="1515684"/>
                      <a:pt x="263214" y="1385191"/>
                      <a:pt x="238713" y="1273114"/>
                    </a:cubicBezTo>
                    <a:cubicBezTo>
                      <a:pt x="214212" y="1161037"/>
                      <a:pt x="84270" y="968309"/>
                      <a:pt x="52769" y="884486"/>
                    </a:cubicBezTo>
                    <a:cubicBezTo>
                      <a:pt x="21268" y="800663"/>
                      <a:pt x="0" y="722247"/>
                      <a:pt x="0" y="632652"/>
                    </a:cubicBezTo>
                    <a:cubicBezTo>
                      <a:pt x="0" y="283359"/>
                      <a:pt x="283153" y="201"/>
                      <a:pt x="632444" y="194"/>
                    </a:cubicBezTo>
                    <a:lnTo>
                      <a:pt x="632444" y="0"/>
                    </a:lnTo>
                    <a:close/>
                  </a:path>
                </a:pathLst>
              </a:custGeom>
              <a:solidFill>
                <a:srgbClr val="00B0F0">
                  <a:alpha val="20000"/>
                </a:srgbClr>
              </a:solidFill>
              <a:ln>
                <a:noFill/>
              </a:ln>
              <a:effectLst/>
              <a:scene3d>
                <a:camera prst="orthographicFront">
                  <a:rot lat="0" lon="0" rev="0"/>
                </a:camera>
                <a:lightRig rig="twoPt" dir="t">
                  <a:rot lat="0" lon="0" rev="0"/>
                </a:lightRig>
              </a:scene3d>
              <a:sp3d prstMaterial="clear">
                <a:bevelT w="317500" h="1905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nvGrpSpPr>
              <p:cNvPr id="232" name="Group 231"/>
              <p:cNvGrpSpPr/>
              <p:nvPr/>
            </p:nvGrpSpPr>
            <p:grpSpPr>
              <a:xfrm>
                <a:off x="4221220" y="3554960"/>
                <a:ext cx="700181" cy="1502973"/>
                <a:chOff x="6480420" y="3161623"/>
                <a:chExt cx="813818" cy="1746901"/>
              </a:xfrm>
            </p:grpSpPr>
            <p:sp>
              <p:nvSpPr>
                <p:cNvPr id="241" name="Freeform 240"/>
                <p:cNvSpPr/>
                <p:nvPr/>
              </p:nvSpPr>
              <p:spPr>
                <a:xfrm>
                  <a:off x="6747926" y="4123689"/>
                  <a:ext cx="27850" cy="772043"/>
                </a:xfrm>
                <a:custGeom>
                  <a:avLst/>
                  <a:gdLst>
                    <a:gd name="connsiteX0" fmla="*/ 0 w 34290"/>
                    <a:gd name="connsiteY0" fmla="*/ 0 h 950595"/>
                    <a:gd name="connsiteX1" fmla="*/ 34290 w 34290"/>
                    <a:gd name="connsiteY1" fmla="*/ 950595 h 950595"/>
                  </a:gdLst>
                  <a:ahLst/>
                  <a:cxnLst>
                    <a:cxn ang="0">
                      <a:pos x="connsiteX0" y="connsiteY0"/>
                    </a:cxn>
                    <a:cxn ang="0">
                      <a:pos x="connsiteX1" y="connsiteY1"/>
                    </a:cxn>
                  </a:cxnLst>
                  <a:rect l="l" t="t" r="r" b="b"/>
                  <a:pathLst>
                    <a:path w="34290" h="950595">
                      <a:moveTo>
                        <a:pt x="0" y="0"/>
                      </a:moveTo>
                      <a:lnTo>
                        <a:pt x="34290" y="950595"/>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42" name="Freeform 241"/>
                <p:cNvSpPr/>
                <p:nvPr/>
              </p:nvSpPr>
              <p:spPr>
                <a:xfrm>
                  <a:off x="7003162" y="4123690"/>
                  <a:ext cx="21660" cy="770496"/>
                </a:xfrm>
                <a:custGeom>
                  <a:avLst/>
                  <a:gdLst>
                    <a:gd name="connsiteX0" fmla="*/ 26670 w 26670"/>
                    <a:gd name="connsiteY0" fmla="*/ 0 h 948690"/>
                    <a:gd name="connsiteX1" fmla="*/ 0 w 26670"/>
                    <a:gd name="connsiteY1" fmla="*/ 948690 h 948690"/>
                  </a:gdLst>
                  <a:ahLst/>
                  <a:cxnLst>
                    <a:cxn ang="0">
                      <a:pos x="connsiteX0" y="connsiteY0"/>
                    </a:cxn>
                    <a:cxn ang="0">
                      <a:pos x="connsiteX1" y="connsiteY1"/>
                    </a:cxn>
                  </a:cxnLst>
                  <a:rect l="l" t="t" r="r" b="b"/>
                  <a:pathLst>
                    <a:path w="26670" h="948690">
                      <a:moveTo>
                        <a:pt x="26670" y="0"/>
                      </a:moveTo>
                      <a:lnTo>
                        <a:pt x="0" y="948690"/>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43" name="Freeform 242"/>
                <p:cNvSpPr/>
                <p:nvPr/>
              </p:nvSpPr>
              <p:spPr>
                <a:xfrm>
                  <a:off x="6672271" y="3166397"/>
                  <a:ext cx="120681" cy="521400"/>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123 w 148713"/>
                    <a:gd name="connsiteY0" fmla="*/ 0 h 641985"/>
                    <a:gd name="connsiteX1" fmla="*/ 3933 w 148713"/>
                    <a:gd name="connsiteY1" fmla="*/ 110490 h 641985"/>
                    <a:gd name="connsiteX2" fmla="*/ 34413 w 148713"/>
                    <a:gd name="connsiteY2" fmla="*/ 129540 h 641985"/>
                    <a:gd name="connsiteX3" fmla="*/ 57273 w 148713"/>
                    <a:gd name="connsiteY3" fmla="*/ 87630 h 641985"/>
                    <a:gd name="connsiteX4" fmla="*/ 30603 w 148713"/>
                    <a:gd name="connsiteY4" fmla="*/ 57150 h 641985"/>
                    <a:gd name="connsiteX5" fmla="*/ 15363 w 148713"/>
                    <a:gd name="connsiteY5" fmla="*/ 144780 h 641985"/>
                    <a:gd name="connsiteX6" fmla="*/ 148713 w 148713"/>
                    <a:gd name="connsiteY6" fmla="*/ 641985 h 641985"/>
                    <a:gd name="connsiteX0" fmla="*/ 0 w 148590"/>
                    <a:gd name="connsiteY0" fmla="*/ 0 h 641985"/>
                    <a:gd name="connsiteX1" fmla="*/ 3810 w 148590"/>
                    <a:gd name="connsiteY1" fmla="*/ 110490 h 641985"/>
                    <a:gd name="connsiteX2" fmla="*/ 34290 w 148590"/>
                    <a:gd name="connsiteY2" fmla="*/ 129540 h 641985"/>
                    <a:gd name="connsiteX3" fmla="*/ 57150 w 148590"/>
                    <a:gd name="connsiteY3" fmla="*/ 87630 h 641985"/>
                    <a:gd name="connsiteX4" fmla="*/ 30480 w 148590"/>
                    <a:gd name="connsiteY4" fmla="*/ 57150 h 641985"/>
                    <a:gd name="connsiteX5" fmla="*/ 15240 w 148590"/>
                    <a:gd name="connsiteY5" fmla="*/ 144780 h 641985"/>
                    <a:gd name="connsiteX6" fmla="*/ 148590 w 148590"/>
                    <a:gd name="connsiteY6" fmla="*/ 641985 h 64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 h="641985">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931" y="57677"/>
                        <a:pt x="30480" y="57150"/>
                      </a:cubicBezTo>
                      <a:cubicBezTo>
                        <a:pt x="8255" y="56515"/>
                        <a:pt x="-4445" y="47308"/>
                        <a:pt x="15240" y="144780"/>
                      </a:cubicBezTo>
                      <a:cubicBezTo>
                        <a:pt x="34925" y="242253"/>
                        <a:pt x="104140" y="467995"/>
                        <a:pt x="148590" y="641985"/>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44" name="Freeform 243"/>
                <p:cNvSpPr/>
                <p:nvPr/>
              </p:nvSpPr>
              <p:spPr>
                <a:xfrm rot="21360000" flipH="1">
                  <a:off x="6946994" y="3161623"/>
                  <a:ext cx="116190" cy="521665"/>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061" h="642311">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877" y="55639"/>
                        <a:pt x="30480" y="57150"/>
                      </a:cubicBezTo>
                      <a:cubicBezTo>
                        <a:pt x="6441" y="59125"/>
                        <a:pt x="-3523" y="47253"/>
                        <a:pt x="15240" y="144780"/>
                      </a:cubicBezTo>
                      <a:cubicBezTo>
                        <a:pt x="34003" y="242307"/>
                        <a:pt x="98611" y="468321"/>
                        <a:pt x="143061" y="642311"/>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45" name="Freeform 244"/>
                <p:cNvSpPr/>
                <p:nvPr/>
              </p:nvSpPr>
              <p:spPr>
                <a:xfrm>
                  <a:off x="6480420" y="3237725"/>
                  <a:ext cx="812786" cy="82516"/>
                </a:xfrm>
                <a:custGeom>
                  <a:avLst/>
                  <a:gdLst>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1000760" h="101600">
                      <a:moveTo>
                        <a:pt x="0" y="86360"/>
                      </a:moveTo>
                      <a:cubicBezTo>
                        <a:pt x="143087" y="92287"/>
                        <a:pt x="174413" y="55033"/>
                        <a:pt x="261620" y="5080"/>
                      </a:cubicBezTo>
                      <a:cubicBezTo>
                        <a:pt x="395393" y="33867"/>
                        <a:pt x="516467" y="37253"/>
                        <a:pt x="662940" y="0"/>
                      </a:cubicBezTo>
                      <a:cubicBezTo>
                        <a:pt x="813647" y="69427"/>
                        <a:pt x="865293" y="90593"/>
                        <a:pt x="1000760" y="101600"/>
                      </a:cubicBezTo>
                    </a:path>
                  </a:pathLst>
                </a:custGeom>
                <a:noFill/>
                <a:ln w="19050" cap="rnd" cmpd="sng">
                  <a:solidFill>
                    <a:schemeClr val="tx1">
                      <a:lumMod val="50000"/>
                      <a:lumOff val="50000"/>
                    </a:schemeClr>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46" name="Freeform 245"/>
                <p:cNvSpPr/>
                <p:nvPr/>
              </p:nvSpPr>
              <p:spPr>
                <a:xfrm flipH="1">
                  <a:off x="6678460" y="3749170"/>
                  <a:ext cx="412581" cy="1159354"/>
                </a:xfrm>
                <a:custGeom>
                  <a:avLst/>
                  <a:gdLst/>
                  <a:ahLst/>
                  <a:cxnLst/>
                  <a:rect l="l" t="t" r="r" b="b"/>
                  <a:pathLst>
                    <a:path w="508000" h="1427480">
                      <a:moveTo>
                        <a:pt x="254000" y="647700"/>
                      </a:moveTo>
                      <a:cubicBezTo>
                        <a:pt x="294681" y="647700"/>
                        <a:pt x="327660" y="680679"/>
                        <a:pt x="327660" y="721360"/>
                      </a:cubicBezTo>
                      <a:cubicBezTo>
                        <a:pt x="327660" y="762041"/>
                        <a:pt x="294681" y="795020"/>
                        <a:pt x="254000" y="795020"/>
                      </a:cubicBezTo>
                      <a:cubicBezTo>
                        <a:pt x="213319" y="795020"/>
                        <a:pt x="180340" y="762041"/>
                        <a:pt x="180340" y="721360"/>
                      </a:cubicBezTo>
                      <a:cubicBezTo>
                        <a:pt x="180340" y="680679"/>
                        <a:pt x="213319" y="647700"/>
                        <a:pt x="254000" y="647700"/>
                      </a:cubicBezTo>
                      <a:close/>
                      <a:moveTo>
                        <a:pt x="325120" y="0"/>
                      </a:moveTo>
                      <a:lnTo>
                        <a:pt x="254000" y="2453"/>
                      </a:lnTo>
                      <a:lnTo>
                        <a:pt x="182880" y="0"/>
                      </a:lnTo>
                      <a:lnTo>
                        <a:pt x="182880" y="375920"/>
                      </a:lnTo>
                      <a:cubicBezTo>
                        <a:pt x="178647" y="395393"/>
                        <a:pt x="191135" y="416348"/>
                        <a:pt x="170180" y="434340"/>
                      </a:cubicBezTo>
                      <a:cubicBezTo>
                        <a:pt x="149225" y="452332"/>
                        <a:pt x="11007" y="447040"/>
                        <a:pt x="10160" y="551180"/>
                      </a:cubicBezTo>
                      <a:cubicBezTo>
                        <a:pt x="9313" y="655320"/>
                        <a:pt x="53975" y="768138"/>
                        <a:pt x="53340" y="817880"/>
                      </a:cubicBezTo>
                      <a:cubicBezTo>
                        <a:pt x="52705" y="867622"/>
                        <a:pt x="0" y="937472"/>
                        <a:pt x="0" y="995680"/>
                      </a:cubicBezTo>
                      <a:lnTo>
                        <a:pt x="0" y="1427480"/>
                      </a:lnTo>
                      <a:lnTo>
                        <a:pt x="254000" y="1427480"/>
                      </a:lnTo>
                      <a:lnTo>
                        <a:pt x="508000" y="1427480"/>
                      </a:lnTo>
                      <a:lnTo>
                        <a:pt x="508000" y="995680"/>
                      </a:lnTo>
                      <a:cubicBezTo>
                        <a:pt x="508000" y="937472"/>
                        <a:pt x="455295" y="867622"/>
                        <a:pt x="454660" y="817880"/>
                      </a:cubicBezTo>
                      <a:cubicBezTo>
                        <a:pt x="454025" y="768138"/>
                        <a:pt x="498687" y="655320"/>
                        <a:pt x="497840" y="551180"/>
                      </a:cubicBezTo>
                      <a:cubicBezTo>
                        <a:pt x="496993" y="447040"/>
                        <a:pt x="358775" y="452332"/>
                        <a:pt x="337820" y="434340"/>
                      </a:cubicBezTo>
                      <a:cubicBezTo>
                        <a:pt x="316865" y="416348"/>
                        <a:pt x="329353" y="395393"/>
                        <a:pt x="325120" y="375920"/>
                      </a:cubicBezTo>
                      <a:close/>
                    </a:path>
                  </a:pathLst>
                </a:custGeom>
                <a:solidFill>
                  <a:schemeClr val="bg1">
                    <a:alpha val="20000"/>
                  </a:schemeClr>
                </a:solidFill>
                <a:ln>
                  <a:noFill/>
                </a:ln>
                <a:effectLst/>
                <a:scene3d>
                  <a:camera prst="orthographicFront">
                    <a:rot lat="0" lon="0" rev="0"/>
                  </a:camera>
                  <a:lightRig rig="chilly" dir="t"/>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47" name="Freeform 246"/>
                <p:cNvSpPr/>
                <p:nvPr/>
              </p:nvSpPr>
              <p:spPr>
                <a:xfrm>
                  <a:off x="6480420"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48" name="Freeform 247"/>
                <p:cNvSpPr/>
                <p:nvPr/>
              </p:nvSpPr>
              <p:spPr>
                <a:xfrm flipH="1">
                  <a:off x="7028123"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49" name="Rounded Rectangle 248"/>
                <p:cNvSpPr/>
                <p:nvPr/>
              </p:nvSpPr>
              <p:spPr>
                <a:xfrm>
                  <a:off x="6771291" y="3686870"/>
                  <a:ext cx="222795" cy="61888"/>
                </a:xfrm>
                <a:prstGeom prst="roundRect">
                  <a:avLst>
                    <a:gd name="adj" fmla="val 50000"/>
                  </a:avLst>
                </a:prstGeom>
                <a:solidFill>
                  <a:schemeClr val="bg1">
                    <a:alpha val="2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grpSp>
            <p:nvGrpSpPr>
              <p:cNvPr id="233" name="Group 232"/>
              <p:cNvGrpSpPr/>
              <p:nvPr/>
            </p:nvGrpSpPr>
            <p:grpSpPr>
              <a:xfrm>
                <a:off x="4077456" y="5030272"/>
                <a:ext cx="983340" cy="916948"/>
                <a:chOff x="4077456" y="5030272"/>
                <a:chExt cx="983340" cy="916948"/>
              </a:xfrm>
            </p:grpSpPr>
            <p:sp>
              <p:nvSpPr>
                <p:cNvPr id="235" name="Freeform 234"/>
                <p:cNvSpPr/>
                <p:nvPr/>
              </p:nvSpPr>
              <p:spPr>
                <a:xfrm>
                  <a:off x="4077456" y="5030272"/>
                  <a:ext cx="983340" cy="827082"/>
                </a:xfrm>
                <a:custGeom>
                  <a:avLst/>
                  <a:gdLst>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303"/>
                    <a:gd name="connsiteY0" fmla="*/ 0 h 1183640"/>
                    <a:gd name="connsiteX1" fmla="*/ 1402080 w 1407303"/>
                    <a:gd name="connsiteY1" fmla="*/ 177800 h 1183640"/>
                    <a:gd name="connsiteX2" fmla="*/ 1325880 w 1407303"/>
                    <a:gd name="connsiteY2" fmla="*/ 238760 h 1183640"/>
                    <a:gd name="connsiteX3" fmla="*/ 1407160 w 1407303"/>
                    <a:gd name="connsiteY3" fmla="*/ 340360 h 1183640"/>
                    <a:gd name="connsiteX4" fmla="*/ 1330960 w 1407303"/>
                    <a:gd name="connsiteY4" fmla="*/ 421640 h 1183640"/>
                    <a:gd name="connsiteX5" fmla="*/ 1402080 w 1407303"/>
                    <a:gd name="connsiteY5" fmla="*/ 518160 h 1183640"/>
                    <a:gd name="connsiteX6" fmla="*/ 1325880 w 1407303"/>
                    <a:gd name="connsiteY6" fmla="*/ 589280 h 1183640"/>
                    <a:gd name="connsiteX7" fmla="*/ 1407160 w 1407303"/>
                    <a:gd name="connsiteY7" fmla="*/ 690880 h 1183640"/>
                    <a:gd name="connsiteX8" fmla="*/ 1325880 w 1407303"/>
                    <a:gd name="connsiteY8" fmla="*/ 772160 h 1183640"/>
                    <a:gd name="connsiteX9" fmla="*/ 1407160 w 1407303"/>
                    <a:gd name="connsiteY9" fmla="*/ 863600 h 1183640"/>
                    <a:gd name="connsiteX10" fmla="*/ 1366520 w 1407303"/>
                    <a:gd name="connsiteY10" fmla="*/ 980440 h 1183640"/>
                    <a:gd name="connsiteX11" fmla="*/ 1036320 w 1407303"/>
                    <a:gd name="connsiteY11" fmla="*/ 1178560 h 1183640"/>
                    <a:gd name="connsiteX12" fmla="*/ 381000 w 1407303"/>
                    <a:gd name="connsiteY12" fmla="*/ 1183640 h 1183640"/>
                    <a:gd name="connsiteX13" fmla="*/ 15240 w 1407303"/>
                    <a:gd name="connsiteY13" fmla="*/ 899160 h 1183640"/>
                    <a:gd name="connsiteX14" fmla="*/ 71120 w 1407303"/>
                    <a:gd name="connsiteY14" fmla="*/ 812800 h 1183640"/>
                    <a:gd name="connsiteX15" fmla="*/ 0 w 1407303"/>
                    <a:gd name="connsiteY15" fmla="*/ 736600 h 1183640"/>
                    <a:gd name="connsiteX16" fmla="*/ 81280 w 1407303"/>
                    <a:gd name="connsiteY16" fmla="*/ 624840 h 1183640"/>
                    <a:gd name="connsiteX17" fmla="*/ 10160 w 1407303"/>
                    <a:gd name="connsiteY17" fmla="*/ 548640 h 1183640"/>
                    <a:gd name="connsiteX18" fmla="*/ 76200 w 1407303"/>
                    <a:gd name="connsiteY18" fmla="*/ 462280 h 1183640"/>
                    <a:gd name="connsiteX19" fmla="*/ 5080 w 1407303"/>
                    <a:gd name="connsiteY19" fmla="*/ 370840 h 1183640"/>
                    <a:gd name="connsiteX20" fmla="*/ 81280 w 1407303"/>
                    <a:gd name="connsiteY20" fmla="*/ 274320 h 1183640"/>
                    <a:gd name="connsiteX21" fmla="*/ 15240 w 1407303"/>
                    <a:gd name="connsiteY21" fmla="*/ 218440 h 1183640"/>
                    <a:gd name="connsiteX22" fmla="*/ 5080 w 1407303"/>
                    <a:gd name="connsiteY22" fmla="*/ 5080 h 1183640"/>
                    <a:gd name="connsiteX23" fmla="*/ 1402080 w 1407303"/>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9 w 1407263"/>
                    <a:gd name="connsiteY0" fmla="*/ 0 h 1183640"/>
                    <a:gd name="connsiteX1" fmla="*/ 1402089 w 1407263"/>
                    <a:gd name="connsiteY1" fmla="*/ 177800 h 1183640"/>
                    <a:gd name="connsiteX2" fmla="*/ 1325889 w 1407263"/>
                    <a:gd name="connsiteY2" fmla="*/ 238760 h 1183640"/>
                    <a:gd name="connsiteX3" fmla="*/ 1407169 w 1407263"/>
                    <a:gd name="connsiteY3" fmla="*/ 340360 h 1183640"/>
                    <a:gd name="connsiteX4" fmla="*/ 1330969 w 1407263"/>
                    <a:gd name="connsiteY4" fmla="*/ 421640 h 1183640"/>
                    <a:gd name="connsiteX5" fmla="*/ 1402089 w 1407263"/>
                    <a:gd name="connsiteY5" fmla="*/ 518160 h 1183640"/>
                    <a:gd name="connsiteX6" fmla="*/ 1325889 w 1407263"/>
                    <a:gd name="connsiteY6" fmla="*/ 589280 h 1183640"/>
                    <a:gd name="connsiteX7" fmla="*/ 1407169 w 1407263"/>
                    <a:gd name="connsiteY7" fmla="*/ 690880 h 1183640"/>
                    <a:gd name="connsiteX8" fmla="*/ 1325889 w 1407263"/>
                    <a:gd name="connsiteY8" fmla="*/ 772160 h 1183640"/>
                    <a:gd name="connsiteX9" fmla="*/ 1407169 w 1407263"/>
                    <a:gd name="connsiteY9" fmla="*/ 863600 h 1183640"/>
                    <a:gd name="connsiteX10" fmla="*/ 1366529 w 1407263"/>
                    <a:gd name="connsiteY10" fmla="*/ 980440 h 1183640"/>
                    <a:gd name="connsiteX11" fmla="*/ 1036329 w 1407263"/>
                    <a:gd name="connsiteY11" fmla="*/ 1178560 h 1183640"/>
                    <a:gd name="connsiteX12" fmla="*/ 381009 w 1407263"/>
                    <a:gd name="connsiteY12" fmla="*/ 1183640 h 1183640"/>
                    <a:gd name="connsiteX13" fmla="*/ 15249 w 1407263"/>
                    <a:gd name="connsiteY13" fmla="*/ 899160 h 1183640"/>
                    <a:gd name="connsiteX14" fmla="*/ 71129 w 1407263"/>
                    <a:gd name="connsiteY14" fmla="*/ 812800 h 1183640"/>
                    <a:gd name="connsiteX15" fmla="*/ 9 w 1407263"/>
                    <a:gd name="connsiteY15" fmla="*/ 736600 h 1183640"/>
                    <a:gd name="connsiteX16" fmla="*/ 81289 w 1407263"/>
                    <a:gd name="connsiteY16" fmla="*/ 624840 h 1183640"/>
                    <a:gd name="connsiteX17" fmla="*/ 10169 w 1407263"/>
                    <a:gd name="connsiteY17" fmla="*/ 548640 h 1183640"/>
                    <a:gd name="connsiteX18" fmla="*/ 76209 w 1407263"/>
                    <a:gd name="connsiteY18" fmla="*/ 462280 h 1183640"/>
                    <a:gd name="connsiteX19" fmla="*/ 5089 w 1407263"/>
                    <a:gd name="connsiteY19" fmla="*/ 370840 h 1183640"/>
                    <a:gd name="connsiteX20" fmla="*/ 81289 w 1407263"/>
                    <a:gd name="connsiteY20" fmla="*/ 274320 h 1183640"/>
                    <a:gd name="connsiteX21" fmla="*/ 15249 w 1407263"/>
                    <a:gd name="connsiteY21" fmla="*/ 218440 h 1183640"/>
                    <a:gd name="connsiteX22" fmla="*/ 5089 w 1407263"/>
                    <a:gd name="connsiteY22" fmla="*/ 5080 h 1183640"/>
                    <a:gd name="connsiteX23" fmla="*/ 1402089 w 1407263"/>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7627 w 1407261"/>
                    <a:gd name="connsiteY21" fmla="*/ 215900 h 1183640"/>
                    <a:gd name="connsiteX22" fmla="*/ 5087 w 1407261"/>
                    <a:gd name="connsiteY22" fmla="*/ 5080 h 1183640"/>
                    <a:gd name="connsiteX23" fmla="*/ 1402087 w 1407261"/>
                    <a:gd name="connsiteY23" fmla="*/ 0 h 118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07261" h="1183640">
                      <a:moveTo>
                        <a:pt x="1402087" y="0"/>
                      </a:moveTo>
                      <a:lnTo>
                        <a:pt x="1402087" y="177800"/>
                      </a:lnTo>
                      <a:cubicBezTo>
                        <a:pt x="1376687" y="198120"/>
                        <a:pt x="1326734" y="209973"/>
                        <a:pt x="1325887" y="238760"/>
                      </a:cubicBezTo>
                      <a:cubicBezTo>
                        <a:pt x="1325040" y="267547"/>
                        <a:pt x="1407167" y="318347"/>
                        <a:pt x="1407167" y="340360"/>
                      </a:cubicBezTo>
                      <a:cubicBezTo>
                        <a:pt x="1407167" y="362373"/>
                        <a:pt x="1319960" y="381847"/>
                        <a:pt x="1330967" y="421640"/>
                      </a:cubicBezTo>
                      <a:cubicBezTo>
                        <a:pt x="1341974" y="461433"/>
                        <a:pt x="1407167" y="494453"/>
                        <a:pt x="1402087" y="518160"/>
                      </a:cubicBezTo>
                      <a:cubicBezTo>
                        <a:pt x="1397007" y="541867"/>
                        <a:pt x="1326734" y="552873"/>
                        <a:pt x="1325887" y="589280"/>
                      </a:cubicBezTo>
                      <a:cubicBezTo>
                        <a:pt x="1325040" y="625687"/>
                        <a:pt x="1403780" y="658707"/>
                        <a:pt x="1407167" y="690880"/>
                      </a:cubicBezTo>
                      <a:cubicBezTo>
                        <a:pt x="1410554" y="723053"/>
                        <a:pt x="1321654" y="736600"/>
                        <a:pt x="1325887" y="772160"/>
                      </a:cubicBezTo>
                      <a:cubicBezTo>
                        <a:pt x="1330120" y="807720"/>
                        <a:pt x="1380074" y="833120"/>
                        <a:pt x="1407167" y="863600"/>
                      </a:cubicBezTo>
                      <a:cubicBezTo>
                        <a:pt x="1393620" y="902547"/>
                        <a:pt x="1390234" y="944880"/>
                        <a:pt x="1366527" y="980440"/>
                      </a:cubicBezTo>
                      <a:cubicBezTo>
                        <a:pt x="1342820" y="1016000"/>
                        <a:pt x="1100674" y="1145540"/>
                        <a:pt x="1036327" y="1178560"/>
                      </a:cubicBezTo>
                      <a:lnTo>
                        <a:pt x="381007" y="1183640"/>
                      </a:lnTo>
                      <a:cubicBezTo>
                        <a:pt x="200667" y="1098973"/>
                        <a:pt x="25407" y="996527"/>
                        <a:pt x="15247" y="899160"/>
                      </a:cubicBezTo>
                      <a:cubicBezTo>
                        <a:pt x="33874" y="870373"/>
                        <a:pt x="75360" y="836507"/>
                        <a:pt x="71127" y="812800"/>
                      </a:cubicBezTo>
                      <a:cubicBezTo>
                        <a:pt x="66894" y="789093"/>
                        <a:pt x="854" y="764540"/>
                        <a:pt x="7" y="736600"/>
                      </a:cubicBezTo>
                      <a:cubicBezTo>
                        <a:pt x="-840" y="708660"/>
                        <a:pt x="79594" y="654473"/>
                        <a:pt x="81287" y="624840"/>
                      </a:cubicBezTo>
                      <a:cubicBezTo>
                        <a:pt x="82980" y="595207"/>
                        <a:pt x="5934" y="581660"/>
                        <a:pt x="10167" y="548640"/>
                      </a:cubicBezTo>
                      <a:cubicBezTo>
                        <a:pt x="14400" y="515620"/>
                        <a:pt x="77054" y="488527"/>
                        <a:pt x="76207" y="462280"/>
                      </a:cubicBezTo>
                      <a:cubicBezTo>
                        <a:pt x="75360" y="436033"/>
                        <a:pt x="854" y="396240"/>
                        <a:pt x="5087" y="370840"/>
                      </a:cubicBezTo>
                      <a:cubicBezTo>
                        <a:pt x="9320" y="345440"/>
                        <a:pt x="80864" y="300143"/>
                        <a:pt x="81287" y="274320"/>
                      </a:cubicBezTo>
                      <a:cubicBezTo>
                        <a:pt x="81710" y="248497"/>
                        <a:pt x="29640" y="234527"/>
                        <a:pt x="7627" y="215900"/>
                      </a:cubicBezTo>
                      <a:cubicBezTo>
                        <a:pt x="6780" y="145627"/>
                        <a:pt x="5934" y="75353"/>
                        <a:pt x="5087" y="5080"/>
                      </a:cubicBezTo>
                      <a:lnTo>
                        <a:pt x="1402087" y="0"/>
                      </a:lnTo>
                      <a:close/>
                    </a:path>
                  </a:pathLst>
                </a:custGeom>
                <a:gradFill flip="none" rotWithShape="1">
                  <a:gsLst>
                    <a:gs pos="0">
                      <a:schemeClr val="bg1">
                        <a:lumMod val="30000"/>
                      </a:schemeClr>
                    </a:gs>
                    <a:gs pos="85000">
                      <a:schemeClr val="bg1">
                        <a:lumMod val="95000"/>
                      </a:schemeClr>
                    </a:gs>
                    <a:gs pos="42000">
                      <a:srgbClr val="B6B6B6">
                        <a:lumMod val="95000"/>
                      </a:srgbClr>
                    </a:gs>
                    <a:gs pos="70000">
                      <a:schemeClr val="bg1">
                        <a:lumMod val="66000"/>
                      </a:schemeClr>
                    </a:gs>
                    <a:gs pos="100000">
                      <a:schemeClr val="bg1">
                        <a:lumMod val="3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36" name="Freeform 235"/>
                <p:cNvSpPr/>
                <p:nvPr/>
              </p:nvSpPr>
              <p:spPr>
                <a:xfrm>
                  <a:off x="4088110" y="5582219"/>
                  <a:ext cx="972621" cy="141683"/>
                </a:xfrm>
                <a:custGeom>
                  <a:avLst/>
                  <a:gdLst/>
                  <a:ahLst/>
                  <a:cxnLst/>
                  <a:rect l="l" t="t" r="r" b="b"/>
                  <a:pathLst>
                    <a:path w="1391920" h="202763">
                      <a:moveTo>
                        <a:pt x="1319213" y="0"/>
                      </a:moveTo>
                      <a:cubicBezTo>
                        <a:pt x="1334296" y="26053"/>
                        <a:pt x="1370352" y="47098"/>
                        <a:pt x="1391920" y="71362"/>
                      </a:cubicBezTo>
                      <a:lnTo>
                        <a:pt x="1381165" y="110247"/>
                      </a:lnTo>
                      <a:lnTo>
                        <a:pt x="58123" y="202763"/>
                      </a:lnTo>
                      <a:cubicBezTo>
                        <a:pt x="24364" y="171244"/>
                        <a:pt x="3328" y="138811"/>
                        <a:pt x="0" y="106922"/>
                      </a:cubicBezTo>
                      <a:lnTo>
                        <a:pt x="11949" y="9141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37" name="Freeform 236"/>
                <p:cNvSpPr/>
                <p:nvPr/>
              </p:nvSpPr>
              <p:spPr>
                <a:xfrm>
                  <a:off x="4077456" y="5459198"/>
                  <a:ext cx="983340" cy="141952"/>
                </a:xfrm>
                <a:custGeom>
                  <a:avLst/>
                  <a:gdLst/>
                  <a:ahLst/>
                  <a:cxnLst/>
                  <a:rect l="l" t="t" r="r" b="b"/>
                  <a:pathLst>
                    <a:path w="1407261" h="203148">
                      <a:moveTo>
                        <a:pt x="1336797" y="0"/>
                      </a:moveTo>
                      <a:cubicBezTo>
                        <a:pt x="1357661" y="27201"/>
                        <a:pt x="1404570" y="52371"/>
                        <a:pt x="1407167" y="77042"/>
                      </a:cubicBezTo>
                      <a:cubicBezTo>
                        <a:pt x="1408668" y="91297"/>
                        <a:pt x="1392052" y="101895"/>
                        <a:pt x="1373255" y="112030"/>
                      </a:cubicBezTo>
                      <a:lnTo>
                        <a:pt x="70196" y="203148"/>
                      </a:lnTo>
                      <a:cubicBezTo>
                        <a:pt x="71464" y="201748"/>
                        <a:pt x="71373" y="200338"/>
                        <a:pt x="71127" y="198962"/>
                      </a:cubicBezTo>
                      <a:cubicBezTo>
                        <a:pt x="66894" y="175255"/>
                        <a:pt x="854" y="150702"/>
                        <a:pt x="7" y="122762"/>
                      </a:cubicBezTo>
                      <a:cubicBezTo>
                        <a:pt x="-246" y="114413"/>
                        <a:pt x="6760" y="103719"/>
                        <a:pt x="17044" y="92286"/>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38" name="Freeform 237"/>
                <p:cNvSpPr/>
                <p:nvPr/>
              </p:nvSpPr>
              <p:spPr>
                <a:xfrm>
                  <a:off x="4084442" y="5334842"/>
                  <a:ext cx="972935" cy="141885"/>
                </a:xfrm>
                <a:custGeom>
                  <a:avLst/>
                  <a:gdLst/>
                  <a:ahLst/>
                  <a:cxnLst/>
                  <a:rect l="l" t="t" r="r" b="b"/>
                  <a:pathLst>
                    <a:path w="1392370" h="203052">
                      <a:moveTo>
                        <a:pt x="1329184" y="0"/>
                      </a:moveTo>
                      <a:cubicBezTo>
                        <a:pt x="1347693" y="33963"/>
                        <a:pt x="1396511" y="61654"/>
                        <a:pt x="1392089" y="82288"/>
                      </a:cubicBezTo>
                      <a:cubicBezTo>
                        <a:pt x="1389561" y="94086"/>
                        <a:pt x="1370889" y="102738"/>
                        <a:pt x="1352660" y="112938"/>
                      </a:cubicBezTo>
                      <a:lnTo>
                        <a:pt x="63968" y="203052"/>
                      </a:lnTo>
                      <a:cubicBezTo>
                        <a:pt x="68944" y="198570"/>
                        <a:pt x="71031" y="193484"/>
                        <a:pt x="71289" y="188968"/>
                      </a:cubicBezTo>
                      <a:cubicBezTo>
                        <a:pt x="72982" y="159335"/>
                        <a:pt x="-4064" y="145788"/>
                        <a:pt x="169" y="112768"/>
                      </a:cubicBezTo>
                      <a:lnTo>
                        <a:pt x="10766" y="9219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39" name="Freeform 238"/>
                <p:cNvSpPr/>
                <p:nvPr/>
              </p:nvSpPr>
              <p:spPr>
                <a:xfrm>
                  <a:off x="4080889" y="5208287"/>
                  <a:ext cx="979841" cy="141561"/>
                </a:xfrm>
                <a:custGeom>
                  <a:avLst/>
                  <a:gdLst/>
                  <a:ahLst/>
                  <a:cxnLst/>
                  <a:rect l="l" t="t" r="r" b="b"/>
                  <a:pathLst>
                    <a:path w="1402254" h="202589">
                      <a:moveTo>
                        <a:pt x="1327165" y="0"/>
                      </a:moveTo>
                      <a:cubicBezTo>
                        <a:pt x="1345502" y="29113"/>
                        <a:pt x="1402254" y="67305"/>
                        <a:pt x="1402254" y="85604"/>
                      </a:cubicBezTo>
                      <a:cubicBezTo>
                        <a:pt x="1402254" y="94165"/>
                        <a:pt x="1389065" y="102342"/>
                        <a:pt x="1373510" y="111338"/>
                      </a:cubicBezTo>
                      <a:lnTo>
                        <a:pt x="68561" y="202589"/>
                      </a:lnTo>
                      <a:cubicBezTo>
                        <a:pt x="60713" y="175951"/>
                        <a:pt x="-3772" y="139763"/>
                        <a:pt x="174" y="116084"/>
                      </a:cubicBezTo>
                      <a:cubicBezTo>
                        <a:pt x="1332" y="109136"/>
                        <a:pt x="7527" y="100699"/>
                        <a:pt x="16039" y="91683"/>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40" name="Freeform 239"/>
                <p:cNvSpPr/>
                <p:nvPr/>
              </p:nvSpPr>
              <p:spPr>
                <a:xfrm>
                  <a:off x="4336590" y="5852030"/>
                  <a:ext cx="470337" cy="95190"/>
                </a:xfrm>
                <a:custGeom>
                  <a:avLst/>
                  <a:gdLst>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325"/>
                    <a:gd name="connsiteX1" fmla="*/ 241300 w 673100"/>
                    <a:gd name="connsiteY1" fmla="*/ 121920 h 127325"/>
                    <a:gd name="connsiteX2" fmla="*/ 434340 w 673100"/>
                    <a:gd name="connsiteY2" fmla="*/ 127000 h 127325"/>
                    <a:gd name="connsiteX3" fmla="*/ 673100 w 673100"/>
                    <a:gd name="connsiteY3" fmla="*/ 0 h 127325"/>
                    <a:gd name="connsiteX4" fmla="*/ 0 w 673100"/>
                    <a:gd name="connsiteY4" fmla="*/ 5080 h 127325"/>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4622"/>
                    <a:gd name="connsiteX1" fmla="*/ 241300 w 673100"/>
                    <a:gd name="connsiteY1" fmla="*/ 121920 h 134622"/>
                    <a:gd name="connsiteX2" fmla="*/ 434340 w 673100"/>
                    <a:gd name="connsiteY2" fmla="*/ 127000 h 134622"/>
                    <a:gd name="connsiteX3" fmla="*/ 673100 w 673100"/>
                    <a:gd name="connsiteY3" fmla="*/ 0 h 134622"/>
                    <a:gd name="connsiteX4" fmla="*/ 0 w 673100"/>
                    <a:gd name="connsiteY4" fmla="*/ 5080 h 134622"/>
                    <a:gd name="connsiteX0" fmla="*/ 0 w 673100"/>
                    <a:gd name="connsiteY0" fmla="*/ 5080 h 136227"/>
                    <a:gd name="connsiteX1" fmla="*/ 241300 w 673100"/>
                    <a:gd name="connsiteY1" fmla="*/ 121920 h 136227"/>
                    <a:gd name="connsiteX2" fmla="*/ 434340 w 673100"/>
                    <a:gd name="connsiteY2" fmla="*/ 127000 h 136227"/>
                    <a:gd name="connsiteX3" fmla="*/ 673100 w 673100"/>
                    <a:gd name="connsiteY3" fmla="*/ 0 h 136227"/>
                    <a:gd name="connsiteX4" fmla="*/ 0 w 673100"/>
                    <a:gd name="connsiteY4" fmla="*/ 5080 h 136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00" h="136227">
                      <a:moveTo>
                        <a:pt x="0" y="5080"/>
                      </a:moveTo>
                      <a:cubicBezTo>
                        <a:pt x="423" y="32597"/>
                        <a:pt x="226483" y="106892"/>
                        <a:pt x="241300" y="121920"/>
                      </a:cubicBezTo>
                      <a:cubicBezTo>
                        <a:pt x="256117" y="136948"/>
                        <a:pt x="421428" y="142452"/>
                        <a:pt x="434340" y="127000"/>
                      </a:cubicBezTo>
                      <a:cubicBezTo>
                        <a:pt x="447252" y="111548"/>
                        <a:pt x="671618" y="23283"/>
                        <a:pt x="673100" y="0"/>
                      </a:cubicBezTo>
                      <a:lnTo>
                        <a:pt x="0" y="508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234" name="Oval 233"/>
              <p:cNvSpPr/>
              <p:nvPr/>
            </p:nvSpPr>
            <p:spPr>
              <a:xfrm rot="19080000" flipH="1">
                <a:off x="3521505" y="2435407"/>
                <a:ext cx="890063" cy="265634"/>
              </a:xfrm>
              <a:prstGeom prst="ellipse">
                <a:avLst/>
              </a:prstGeom>
              <a:gradFill flip="none" rotWithShape="1">
                <a:gsLst>
                  <a:gs pos="28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230" name="Oval 229"/>
            <p:cNvSpPr/>
            <p:nvPr/>
          </p:nvSpPr>
          <p:spPr>
            <a:xfrm>
              <a:off x="6247117" y="2512770"/>
              <a:ext cx="1162056" cy="1079812"/>
            </a:xfrm>
            <a:prstGeom prst="ellipse">
              <a:avLst/>
            </a:prstGeom>
            <a:gradFill flip="none" rotWithShape="1">
              <a:gsLst>
                <a:gs pos="32000">
                  <a:srgbClr val="00B0F0"/>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ysClr val="window" lastClr="FFFFFF"/>
                </a:solidFill>
                <a:latin typeface="Arial" panose="020B0604020202020204" pitchFamily="34" charset="0"/>
                <a:cs typeface="Arial" panose="020B0604020202020204" pitchFamily="34" charset="0"/>
              </a:endParaRPr>
            </a:p>
          </p:txBody>
        </p:sp>
      </p:grpSp>
      <p:grpSp>
        <p:nvGrpSpPr>
          <p:cNvPr id="250" name="Group 249"/>
          <p:cNvGrpSpPr/>
          <p:nvPr userDrawn="1"/>
        </p:nvGrpSpPr>
        <p:grpSpPr>
          <a:xfrm rot="18795435">
            <a:off x="5812942" y="826603"/>
            <a:ext cx="588708" cy="1040024"/>
            <a:chOff x="5869118" y="1864852"/>
            <a:chExt cx="1875650" cy="3313563"/>
          </a:xfrm>
        </p:grpSpPr>
        <p:grpSp>
          <p:nvGrpSpPr>
            <p:cNvPr id="251" name="Group 250"/>
            <p:cNvGrpSpPr/>
            <p:nvPr/>
          </p:nvGrpSpPr>
          <p:grpSpPr>
            <a:xfrm>
              <a:off x="5869118" y="1864852"/>
              <a:ext cx="1875650" cy="3313563"/>
              <a:chOff x="3509193" y="2208611"/>
              <a:chExt cx="2116248" cy="3738609"/>
            </a:xfrm>
          </p:grpSpPr>
          <p:sp>
            <p:nvSpPr>
              <p:cNvPr id="253" name="Freeform 252"/>
              <p:cNvSpPr/>
              <p:nvPr/>
            </p:nvSpPr>
            <p:spPr>
              <a:xfrm>
                <a:off x="3509193" y="2208611"/>
                <a:ext cx="2116248" cy="2832368"/>
              </a:xfrm>
              <a:custGeom>
                <a:avLst/>
                <a:gdLst>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88" h="1692915">
                    <a:moveTo>
                      <a:pt x="632444" y="0"/>
                    </a:moveTo>
                    <a:cubicBezTo>
                      <a:pt x="981735" y="7"/>
                      <a:pt x="1264888" y="283165"/>
                      <a:pt x="1264888" y="632458"/>
                    </a:cubicBezTo>
                    <a:cubicBezTo>
                      <a:pt x="1264888" y="722053"/>
                      <a:pt x="1243620" y="800469"/>
                      <a:pt x="1212119" y="884292"/>
                    </a:cubicBezTo>
                    <a:cubicBezTo>
                      <a:pt x="1180618" y="968115"/>
                      <a:pt x="1050676" y="1160843"/>
                      <a:pt x="1026175" y="1272920"/>
                    </a:cubicBezTo>
                    <a:cubicBezTo>
                      <a:pt x="1001674" y="1384997"/>
                      <a:pt x="991603" y="1515490"/>
                      <a:pt x="972341" y="1634870"/>
                    </a:cubicBezTo>
                    <a:cubicBezTo>
                      <a:pt x="968177" y="1660679"/>
                      <a:pt x="924730" y="1693412"/>
                      <a:pt x="888132" y="1692910"/>
                    </a:cubicBezTo>
                    <a:cubicBezTo>
                      <a:pt x="851534" y="1692408"/>
                      <a:pt x="429358" y="1692412"/>
                      <a:pt x="376023" y="1692910"/>
                    </a:cubicBezTo>
                    <a:cubicBezTo>
                      <a:pt x="322688" y="1693408"/>
                      <a:pt x="296690" y="1660741"/>
                      <a:pt x="292547" y="1635064"/>
                    </a:cubicBezTo>
                    <a:cubicBezTo>
                      <a:pt x="273285" y="1515684"/>
                      <a:pt x="263214" y="1385191"/>
                      <a:pt x="238713" y="1273114"/>
                    </a:cubicBezTo>
                    <a:cubicBezTo>
                      <a:pt x="214212" y="1161037"/>
                      <a:pt x="84270" y="968309"/>
                      <a:pt x="52769" y="884486"/>
                    </a:cubicBezTo>
                    <a:cubicBezTo>
                      <a:pt x="21268" y="800663"/>
                      <a:pt x="0" y="722247"/>
                      <a:pt x="0" y="632652"/>
                    </a:cubicBezTo>
                    <a:cubicBezTo>
                      <a:pt x="0" y="283359"/>
                      <a:pt x="283153" y="201"/>
                      <a:pt x="632444" y="194"/>
                    </a:cubicBezTo>
                    <a:lnTo>
                      <a:pt x="632444" y="0"/>
                    </a:lnTo>
                    <a:close/>
                  </a:path>
                </a:pathLst>
              </a:custGeom>
              <a:solidFill>
                <a:srgbClr val="00B0F0">
                  <a:alpha val="20000"/>
                </a:srgbClr>
              </a:solidFill>
              <a:ln>
                <a:noFill/>
              </a:ln>
              <a:effectLst/>
              <a:scene3d>
                <a:camera prst="orthographicFront">
                  <a:rot lat="0" lon="0" rev="0"/>
                </a:camera>
                <a:lightRig rig="twoPt" dir="t">
                  <a:rot lat="0" lon="0" rev="0"/>
                </a:lightRig>
              </a:scene3d>
              <a:sp3d prstMaterial="clear">
                <a:bevelT w="317500" h="1905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nvGrpSpPr>
              <p:cNvPr id="254" name="Group 253"/>
              <p:cNvGrpSpPr/>
              <p:nvPr/>
            </p:nvGrpSpPr>
            <p:grpSpPr>
              <a:xfrm>
                <a:off x="4221220" y="3554960"/>
                <a:ext cx="700181" cy="1502973"/>
                <a:chOff x="6480420" y="3161623"/>
                <a:chExt cx="813818" cy="1746901"/>
              </a:xfrm>
            </p:grpSpPr>
            <p:sp>
              <p:nvSpPr>
                <p:cNvPr id="263" name="Freeform 262"/>
                <p:cNvSpPr/>
                <p:nvPr/>
              </p:nvSpPr>
              <p:spPr>
                <a:xfrm>
                  <a:off x="6747926" y="4123689"/>
                  <a:ext cx="27850" cy="772043"/>
                </a:xfrm>
                <a:custGeom>
                  <a:avLst/>
                  <a:gdLst>
                    <a:gd name="connsiteX0" fmla="*/ 0 w 34290"/>
                    <a:gd name="connsiteY0" fmla="*/ 0 h 950595"/>
                    <a:gd name="connsiteX1" fmla="*/ 34290 w 34290"/>
                    <a:gd name="connsiteY1" fmla="*/ 950595 h 950595"/>
                  </a:gdLst>
                  <a:ahLst/>
                  <a:cxnLst>
                    <a:cxn ang="0">
                      <a:pos x="connsiteX0" y="connsiteY0"/>
                    </a:cxn>
                    <a:cxn ang="0">
                      <a:pos x="connsiteX1" y="connsiteY1"/>
                    </a:cxn>
                  </a:cxnLst>
                  <a:rect l="l" t="t" r="r" b="b"/>
                  <a:pathLst>
                    <a:path w="34290" h="950595">
                      <a:moveTo>
                        <a:pt x="0" y="0"/>
                      </a:moveTo>
                      <a:lnTo>
                        <a:pt x="34290" y="950595"/>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64" name="Freeform 263"/>
                <p:cNvSpPr/>
                <p:nvPr/>
              </p:nvSpPr>
              <p:spPr>
                <a:xfrm>
                  <a:off x="7003162" y="4123690"/>
                  <a:ext cx="21660" cy="770496"/>
                </a:xfrm>
                <a:custGeom>
                  <a:avLst/>
                  <a:gdLst>
                    <a:gd name="connsiteX0" fmla="*/ 26670 w 26670"/>
                    <a:gd name="connsiteY0" fmla="*/ 0 h 948690"/>
                    <a:gd name="connsiteX1" fmla="*/ 0 w 26670"/>
                    <a:gd name="connsiteY1" fmla="*/ 948690 h 948690"/>
                  </a:gdLst>
                  <a:ahLst/>
                  <a:cxnLst>
                    <a:cxn ang="0">
                      <a:pos x="connsiteX0" y="connsiteY0"/>
                    </a:cxn>
                    <a:cxn ang="0">
                      <a:pos x="connsiteX1" y="connsiteY1"/>
                    </a:cxn>
                  </a:cxnLst>
                  <a:rect l="l" t="t" r="r" b="b"/>
                  <a:pathLst>
                    <a:path w="26670" h="948690">
                      <a:moveTo>
                        <a:pt x="26670" y="0"/>
                      </a:moveTo>
                      <a:lnTo>
                        <a:pt x="0" y="948690"/>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65" name="Freeform 264"/>
                <p:cNvSpPr/>
                <p:nvPr/>
              </p:nvSpPr>
              <p:spPr>
                <a:xfrm>
                  <a:off x="6672271" y="3166397"/>
                  <a:ext cx="120681" cy="521400"/>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123 w 148713"/>
                    <a:gd name="connsiteY0" fmla="*/ 0 h 641985"/>
                    <a:gd name="connsiteX1" fmla="*/ 3933 w 148713"/>
                    <a:gd name="connsiteY1" fmla="*/ 110490 h 641985"/>
                    <a:gd name="connsiteX2" fmla="*/ 34413 w 148713"/>
                    <a:gd name="connsiteY2" fmla="*/ 129540 h 641985"/>
                    <a:gd name="connsiteX3" fmla="*/ 57273 w 148713"/>
                    <a:gd name="connsiteY3" fmla="*/ 87630 h 641985"/>
                    <a:gd name="connsiteX4" fmla="*/ 30603 w 148713"/>
                    <a:gd name="connsiteY4" fmla="*/ 57150 h 641985"/>
                    <a:gd name="connsiteX5" fmla="*/ 15363 w 148713"/>
                    <a:gd name="connsiteY5" fmla="*/ 144780 h 641985"/>
                    <a:gd name="connsiteX6" fmla="*/ 148713 w 148713"/>
                    <a:gd name="connsiteY6" fmla="*/ 641985 h 641985"/>
                    <a:gd name="connsiteX0" fmla="*/ 0 w 148590"/>
                    <a:gd name="connsiteY0" fmla="*/ 0 h 641985"/>
                    <a:gd name="connsiteX1" fmla="*/ 3810 w 148590"/>
                    <a:gd name="connsiteY1" fmla="*/ 110490 h 641985"/>
                    <a:gd name="connsiteX2" fmla="*/ 34290 w 148590"/>
                    <a:gd name="connsiteY2" fmla="*/ 129540 h 641985"/>
                    <a:gd name="connsiteX3" fmla="*/ 57150 w 148590"/>
                    <a:gd name="connsiteY3" fmla="*/ 87630 h 641985"/>
                    <a:gd name="connsiteX4" fmla="*/ 30480 w 148590"/>
                    <a:gd name="connsiteY4" fmla="*/ 57150 h 641985"/>
                    <a:gd name="connsiteX5" fmla="*/ 15240 w 148590"/>
                    <a:gd name="connsiteY5" fmla="*/ 144780 h 641985"/>
                    <a:gd name="connsiteX6" fmla="*/ 148590 w 148590"/>
                    <a:gd name="connsiteY6" fmla="*/ 641985 h 64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 h="641985">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931" y="57677"/>
                        <a:pt x="30480" y="57150"/>
                      </a:cubicBezTo>
                      <a:cubicBezTo>
                        <a:pt x="8255" y="56515"/>
                        <a:pt x="-4445" y="47308"/>
                        <a:pt x="15240" y="144780"/>
                      </a:cubicBezTo>
                      <a:cubicBezTo>
                        <a:pt x="34925" y="242253"/>
                        <a:pt x="104140" y="467995"/>
                        <a:pt x="148590" y="641985"/>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66" name="Freeform 265"/>
                <p:cNvSpPr/>
                <p:nvPr/>
              </p:nvSpPr>
              <p:spPr>
                <a:xfrm rot="21360000" flipH="1">
                  <a:off x="6946994" y="3161623"/>
                  <a:ext cx="116190" cy="521665"/>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061" h="642311">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877" y="55639"/>
                        <a:pt x="30480" y="57150"/>
                      </a:cubicBezTo>
                      <a:cubicBezTo>
                        <a:pt x="6441" y="59125"/>
                        <a:pt x="-3523" y="47253"/>
                        <a:pt x="15240" y="144780"/>
                      </a:cubicBezTo>
                      <a:cubicBezTo>
                        <a:pt x="34003" y="242307"/>
                        <a:pt x="98611" y="468321"/>
                        <a:pt x="143061" y="642311"/>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67" name="Freeform 266"/>
                <p:cNvSpPr/>
                <p:nvPr/>
              </p:nvSpPr>
              <p:spPr>
                <a:xfrm>
                  <a:off x="6480420" y="3237725"/>
                  <a:ext cx="812786" cy="82516"/>
                </a:xfrm>
                <a:custGeom>
                  <a:avLst/>
                  <a:gdLst>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1000760" h="101600">
                      <a:moveTo>
                        <a:pt x="0" y="86360"/>
                      </a:moveTo>
                      <a:cubicBezTo>
                        <a:pt x="143087" y="92287"/>
                        <a:pt x="174413" y="55033"/>
                        <a:pt x="261620" y="5080"/>
                      </a:cubicBezTo>
                      <a:cubicBezTo>
                        <a:pt x="395393" y="33867"/>
                        <a:pt x="516467" y="37253"/>
                        <a:pt x="662940" y="0"/>
                      </a:cubicBezTo>
                      <a:cubicBezTo>
                        <a:pt x="813647" y="69427"/>
                        <a:pt x="865293" y="90593"/>
                        <a:pt x="1000760" y="101600"/>
                      </a:cubicBezTo>
                    </a:path>
                  </a:pathLst>
                </a:custGeom>
                <a:noFill/>
                <a:ln w="19050" cap="rnd" cmpd="sng">
                  <a:solidFill>
                    <a:schemeClr val="tx1">
                      <a:lumMod val="50000"/>
                      <a:lumOff val="50000"/>
                    </a:schemeClr>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68" name="Freeform 267"/>
                <p:cNvSpPr/>
                <p:nvPr/>
              </p:nvSpPr>
              <p:spPr>
                <a:xfrm flipH="1">
                  <a:off x="6678460" y="3749170"/>
                  <a:ext cx="412581" cy="1159354"/>
                </a:xfrm>
                <a:custGeom>
                  <a:avLst/>
                  <a:gdLst/>
                  <a:ahLst/>
                  <a:cxnLst/>
                  <a:rect l="l" t="t" r="r" b="b"/>
                  <a:pathLst>
                    <a:path w="508000" h="1427480">
                      <a:moveTo>
                        <a:pt x="254000" y="647700"/>
                      </a:moveTo>
                      <a:cubicBezTo>
                        <a:pt x="294681" y="647700"/>
                        <a:pt x="327660" y="680679"/>
                        <a:pt x="327660" y="721360"/>
                      </a:cubicBezTo>
                      <a:cubicBezTo>
                        <a:pt x="327660" y="762041"/>
                        <a:pt x="294681" y="795020"/>
                        <a:pt x="254000" y="795020"/>
                      </a:cubicBezTo>
                      <a:cubicBezTo>
                        <a:pt x="213319" y="795020"/>
                        <a:pt x="180340" y="762041"/>
                        <a:pt x="180340" y="721360"/>
                      </a:cubicBezTo>
                      <a:cubicBezTo>
                        <a:pt x="180340" y="680679"/>
                        <a:pt x="213319" y="647700"/>
                        <a:pt x="254000" y="647700"/>
                      </a:cubicBezTo>
                      <a:close/>
                      <a:moveTo>
                        <a:pt x="325120" y="0"/>
                      </a:moveTo>
                      <a:lnTo>
                        <a:pt x="254000" y="2453"/>
                      </a:lnTo>
                      <a:lnTo>
                        <a:pt x="182880" y="0"/>
                      </a:lnTo>
                      <a:lnTo>
                        <a:pt x="182880" y="375920"/>
                      </a:lnTo>
                      <a:cubicBezTo>
                        <a:pt x="178647" y="395393"/>
                        <a:pt x="191135" y="416348"/>
                        <a:pt x="170180" y="434340"/>
                      </a:cubicBezTo>
                      <a:cubicBezTo>
                        <a:pt x="149225" y="452332"/>
                        <a:pt x="11007" y="447040"/>
                        <a:pt x="10160" y="551180"/>
                      </a:cubicBezTo>
                      <a:cubicBezTo>
                        <a:pt x="9313" y="655320"/>
                        <a:pt x="53975" y="768138"/>
                        <a:pt x="53340" y="817880"/>
                      </a:cubicBezTo>
                      <a:cubicBezTo>
                        <a:pt x="52705" y="867622"/>
                        <a:pt x="0" y="937472"/>
                        <a:pt x="0" y="995680"/>
                      </a:cubicBezTo>
                      <a:lnTo>
                        <a:pt x="0" y="1427480"/>
                      </a:lnTo>
                      <a:lnTo>
                        <a:pt x="254000" y="1427480"/>
                      </a:lnTo>
                      <a:lnTo>
                        <a:pt x="508000" y="1427480"/>
                      </a:lnTo>
                      <a:lnTo>
                        <a:pt x="508000" y="995680"/>
                      </a:lnTo>
                      <a:cubicBezTo>
                        <a:pt x="508000" y="937472"/>
                        <a:pt x="455295" y="867622"/>
                        <a:pt x="454660" y="817880"/>
                      </a:cubicBezTo>
                      <a:cubicBezTo>
                        <a:pt x="454025" y="768138"/>
                        <a:pt x="498687" y="655320"/>
                        <a:pt x="497840" y="551180"/>
                      </a:cubicBezTo>
                      <a:cubicBezTo>
                        <a:pt x="496993" y="447040"/>
                        <a:pt x="358775" y="452332"/>
                        <a:pt x="337820" y="434340"/>
                      </a:cubicBezTo>
                      <a:cubicBezTo>
                        <a:pt x="316865" y="416348"/>
                        <a:pt x="329353" y="395393"/>
                        <a:pt x="325120" y="375920"/>
                      </a:cubicBezTo>
                      <a:close/>
                    </a:path>
                  </a:pathLst>
                </a:custGeom>
                <a:solidFill>
                  <a:schemeClr val="bg1">
                    <a:alpha val="20000"/>
                  </a:schemeClr>
                </a:solidFill>
                <a:ln>
                  <a:noFill/>
                </a:ln>
                <a:effectLst/>
                <a:scene3d>
                  <a:camera prst="orthographicFront">
                    <a:rot lat="0" lon="0" rev="0"/>
                  </a:camera>
                  <a:lightRig rig="chilly" dir="t"/>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69" name="Freeform 268"/>
                <p:cNvSpPr/>
                <p:nvPr/>
              </p:nvSpPr>
              <p:spPr>
                <a:xfrm>
                  <a:off x="6480420"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70" name="Freeform 269"/>
                <p:cNvSpPr/>
                <p:nvPr/>
              </p:nvSpPr>
              <p:spPr>
                <a:xfrm flipH="1">
                  <a:off x="7028123"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71" name="Rounded Rectangle 270"/>
                <p:cNvSpPr/>
                <p:nvPr/>
              </p:nvSpPr>
              <p:spPr>
                <a:xfrm>
                  <a:off x="6771291" y="3686870"/>
                  <a:ext cx="222795" cy="61888"/>
                </a:xfrm>
                <a:prstGeom prst="roundRect">
                  <a:avLst>
                    <a:gd name="adj" fmla="val 50000"/>
                  </a:avLst>
                </a:prstGeom>
                <a:solidFill>
                  <a:schemeClr val="bg1">
                    <a:alpha val="2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grpSp>
            <p:nvGrpSpPr>
              <p:cNvPr id="255" name="Group 254"/>
              <p:cNvGrpSpPr/>
              <p:nvPr/>
            </p:nvGrpSpPr>
            <p:grpSpPr>
              <a:xfrm>
                <a:off x="4077456" y="5030272"/>
                <a:ext cx="983340" cy="916948"/>
                <a:chOff x="4077456" y="5030272"/>
                <a:chExt cx="983340" cy="916948"/>
              </a:xfrm>
            </p:grpSpPr>
            <p:sp>
              <p:nvSpPr>
                <p:cNvPr id="257" name="Freeform 256"/>
                <p:cNvSpPr/>
                <p:nvPr/>
              </p:nvSpPr>
              <p:spPr>
                <a:xfrm>
                  <a:off x="4077456" y="5030272"/>
                  <a:ext cx="983340" cy="827082"/>
                </a:xfrm>
                <a:custGeom>
                  <a:avLst/>
                  <a:gdLst>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303"/>
                    <a:gd name="connsiteY0" fmla="*/ 0 h 1183640"/>
                    <a:gd name="connsiteX1" fmla="*/ 1402080 w 1407303"/>
                    <a:gd name="connsiteY1" fmla="*/ 177800 h 1183640"/>
                    <a:gd name="connsiteX2" fmla="*/ 1325880 w 1407303"/>
                    <a:gd name="connsiteY2" fmla="*/ 238760 h 1183640"/>
                    <a:gd name="connsiteX3" fmla="*/ 1407160 w 1407303"/>
                    <a:gd name="connsiteY3" fmla="*/ 340360 h 1183640"/>
                    <a:gd name="connsiteX4" fmla="*/ 1330960 w 1407303"/>
                    <a:gd name="connsiteY4" fmla="*/ 421640 h 1183640"/>
                    <a:gd name="connsiteX5" fmla="*/ 1402080 w 1407303"/>
                    <a:gd name="connsiteY5" fmla="*/ 518160 h 1183640"/>
                    <a:gd name="connsiteX6" fmla="*/ 1325880 w 1407303"/>
                    <a:gd name="connsiteY6" fmla="*/ 589280 h 1183640"/>
                    <a:gd name="connsiteX7" fmla="*/ 1407160 w 1407303"/>
                    <a:gd name="connsiteY7" fmla="*/ 690880 h 1183640"/>
                    <a:gd name="connsiteX8" fmla="*/ 1325880 w 1407303"/>
                    <a:gd name="connsiteY8" fmla="*/ 772160 h 1183640"/>
                    <a:gd name="connsiteX9" fmla="*/ 1407160 w 1407303"/>
                    <a:gd name="connsiteY9" fmla="*/ 863600 h 1183640"/>
                    <a:gd name="connsiteX10" fmla="*/ 1366520 w 1407303"/>
                    <a:gd name="connsiteY10" fmla="*/ 980440 h 1183640"/>
                    <a:gd name="connsiteX11" fmla="*/ 1036320 w 1407303"/>
                    <a:gd name="connsiteY11" fmla="*/ 1178560 h 1183640"/>
                    <a:gd name="connsiteX12" fmla="*/ 381000 w 1407303"/>
                    <a:gd name="connsiteY12" fmla="*/ 1183640 h 1183640"/>
                    <a:gd name="connsiteX13" fmla="*/ 15240 w 1407303"/>
                    <a:gd name="connsiteY13" fmla="*/ 899160 h 1183640"/>
                    <a:gd name="connsiteX14" fmla="*/ 71120 w 1407303"/>
                    <a:gd name="connsiteY14" fmla="*/ 812800 h 1183640"/>
                    <a:gd name="connsiteX15" fmla="*/ 0 w 1407303"/>
                    <a:gd name="connsiteY15" fmla="*/ 736600 h 1183640"/>
                    <a:gd name="connsiteX16" fmla="*/ 81280 w 1407303"/>
                    <a:gd name="connsiteY16" fmla="*/ 624840 h 1183640"/>
                    <a:gd name="connsiteX17" fmla="*/ 10160 w 1407303"/>
                    <a:gd name="connsiteY17" fmla="*/ 548640 h 1183640"/>
                    <a:gd name="connsiteX18" fmla="*/ 76200 w 1407303"/>
                    <a:gd name="connsiteY18" fmla="*/ 462280 h 1183640"/>
                    <a:gd name="connsiteX19" fmla="*/ 5080 w 1407303"/>
                    <a:gd name="connsiteY19" fmla="*/ 370840 h 1183640"/>
                    <a:gd name="connsiteX20" fmla="*/ 81280 w 1407303"/>
                    <a:gd name="connsiteY20" fmla="*/ 274320 h 1183640"/>
                    <a:gd name="connsiteX21" fmla="*/ 15240 w 1407303"/>
                    <a:gd name="connsiteY21" fmla="*/ 218440 h 1183640"/>
                    <a:gd name="connsiteX22" fmla="*/ 5080 w 1407303"/>
                    <a:gd name="connsiteY22" fmla="*/ 5080 h 1183640"/>
                    <a:gd name="connsiteX23" fmla="*/ 1402080 w 1407303"/>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9 w 1407263"/>
                    <a:gd name="connsiteY0" fmla="*/ 0 h 1183640"/>
                    <a:gd name="connsiteX1" fmla="*/ 1402089 w 1407263"/>
                    <a:gd name="connsiteY1" fmla="*/ 177800 h 1183640"/>
                    <a:gd name="connsiteX2" fmla="*/ 1325889 w 1407263"/>
                    <a:gd name="connsiteY2" fmla="*/ 238760 h 1183640"/>
                    <a:gd name="connsiteX3" fmla="*/ 1407169 w 1407263"/>
                    <a:gd name="connsiteY3" fmla="*/ 340360 h 1183640"/>
                    <a:gd name="connsiteX4" fmla="*/ 1330969 w 1407263"/>
                    <a:gd name="connsiteY4" fmla="*/ 421640 h 1183640"/>
                    <a:gd name="connsiteX5" fmla="*/ 1402089 w 1407263"/>
                    <a:gd name="connsiteY5" fmla="*/ 518160 h 1183640"/>
                    <a:gd name="connsiteX6" fmla="*/ 1325889 w 1407263"/>
                    <a:gd name="connsiteY6" fmla="*/ 589280 h 1183640"/>
                    <a:gd name="connsiteX7" fmla="*/ 1407169 w 1407263"/>
                    <a:gd name="connsiteY7" fmla="*/ 690880 h 1183640"/>
                    <a:gd name="connsiteX8" fmla="*/ 1325889 w 1407263"/>
                    <a:gd name="connsiteY8" fmla="*/ 772160 h 1183640"/>
                    <a:gd name="connsiteX9" fmla="*/ 1407169 w 1407263"/>
                    <a:gd name="connsiteY9" fmla="*/ 863600 h 1183640"/>
                    <a:gd name="connsiteX10" fmla="*/ 1366529 w 1407263"/>
                    <a:gd name="connsiteY10" fmla="*/ 980440 h 1183640"/>
                    <a:gd name="connsiteX11" fmla="*/ 1036329 w 1407263"/>
                    <a:gd name="connsiteY11" fmla="*/ 1178560 h 1183640"/>
                    <a:gd name="connsiteX12" fmla="*/ 381009 w 1407263"/>
                    <a:gd name="connsiteY12" fmla="*/ 1183640 h 1183640"/>
                    <a:gd name="connsiteX13" fmla="*/ 15249 w 1407263"/>
                    <a:gd name="connsiteY13" fmla="*/ 899160 h 1183640"/>
                    <a:gd name="connsiteX14" fmla="*/ 71129 w 1407263"/>
                    <a:gd name="connsiteY14" fmla="*/ 812800 h 1183640"/>
                    <a:gd name="connsiteX15" fmla="*/ 9 w 1407263"/>
                    <a:gd name="connsiteY15" fmla="*/ 736600 h 1183640"/>
                    <a:gd name="connsiteX16" fmla="*/ 81289 w 1407263"/>
                    <a:gd name="connsiteY16" fmla="*/ 624840 h 1183640"/>
                    <a:gd name="connsiteX17" fmla="*/ 10169 w 1407263"/>
                    <a:gd name="connsiteY17" fmla="*/ 548640 h 1183640"/>
                    <a:gd name="connsiteX18" fmla="*/ 76209 w 1407263"/>
                    <a:gd name="connsiteY18" fmla="*/ 462280 h 1183640"/>
                    <a:gd name="connsiteX19" fmla="*/ 5089 w 1407263"/>
                    <a:gd name="connsiteY19" fmla="*/ 370840 h 1183640"/>
                    <a:gd name="connsiteX20" fmla="*/ 81289 w 1407263"/>
                    <a:gd name="connsiteY20" fmla="*/ 274320 h 1183640"/>
                    <a:gd name="connsiteX21" fmla="*/ 15249 w 1407263"/>
                    <a:gd name="connsiteY21" fmla="*/ 218440 h 1183640"/>
                    <a:gd name="connsiteX22" fmla="*/ 5089 w 1407263"/>
                    <a:gd name="connsiteY22" fmla="*/ 5080 h 1183640"/>
                    <a:gd name="connsiteX23" fmla="*/ 1402089 w 1407263"/>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7627 w 1407261"/>
                    <a:gd name="connsiteY21" fmla="*/ 215900 h 1183640"/>
                    <a:gd name="connsiteX22" fmla="*/ 5087 w 1407261"/>
                    <a:gd name="connsiteY22" fmla="*/ 5080 h 1183640"/>
                    <a:gd name="connsiteX23" fmla="*/ 1402087 w 1407261"/>
                    <a:gd name="connsiteY23" fmla="*/ 0 h 118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07261" h="1183640">
                      <a:moveTo>
                        <a:pt x="1402087" y="0"/>
                      </a:moveTo>
                      <a:lnTo>
                        <a:pt x="1402087" y="177800"/>
                      </a:lnTo>
                      <a:cubicBezTo>
                        <a:pt x="1376687" y="198120"/>
                        <a:pt x="1326734" y="209973"/>
                        <a:pt x="1325887" y="238760"/>
                      </a:cubicBezTo>
                      <a:cubicBezTo>
                        <a:pt x="1325040" y="267547"/>
                        <a:pt x="1407167" y="318347"/>
                        <a:pt x="1407167" y="340360"/>
                      </a:cubicBezTo>
                      <a:cubicBezTo>
                        <a:pt x="1407167" y="362373"/>
                        <a:pt x="1319960" y="381847"/>
                        <a:pt x="1330967" y="421640"/>
                      </a:cubicBezTo>
                      <a:cubicBezTo>
                        <a:pt x="1341974" y="461433"/>
                        <a:pt x="1407167" y="494453"/>
                        <a:pt x="1402087" y="518160"/>
                      </a:cubicBezTo>
                      <a:cubicBezTo>
                        <a:pt x="1397007" y="541867"/>
                        <a:pt x="1326734" y="552873"/>
                        <a:pt x="1325887" y="589280"/>
                      </a:cubicBezTo>
                      <a:cubicBezTo>
                        <a:pt x="1325040" y="625687"/>
                        <a:pt x="1403780" y="658707"/>
                        <a:pt x="1407167" y="690880"/>
                      </a:cubicBezTo>
                      <a:cubicBezTo>
                        <a:pt x="1410554" y="723053"/>
                        <a:pt x="1321654" y="736600"/>
                        <a:pt x="1325887" y="772160"/>
                      </a:cubicBezTo>
                      <a:cubicBezTo>
                        <a:pt x="1330120" y="807720"/>
                        <a:pt x="1380074" y="833120"/>
                        <a:pt x="1407167" y="863600"/>
                      </a:cubicBezTo>
                      <a:cubicBezTo>
                        <a:pt x="1393620" y="902547"/>
                        <a:pt x="1390234" y="944880"/>
                        <a:pt x="1366527" y="980440"/>
                      </a:cubicBezTo>
                      <a:cubicBezTo>
                        <a:pt x="1342820" y="1016000"/>
                        <a:pt x="1100674" y="1145540"/>
                        <a:pt x="1036327" y="1178560"/>
                      </a:cubicBezTo>
                      <a:lnTo>
                        <a:pt x="381007" y="1183640"/>
                      </a:lnTo>
                      <a:cubicBezTo>
                        <a:pt x="200667" y="1098973"/>
                        <a:pt x="25407" y="996527"/>
                        <a:pt x="15247" y="899160"/>
                      </a:cubicBezTo>
                      <a:cubicBezTo>
                        <a:pt x="33874" y="870373"/>
                        <a:pt x="75360" y="836507"/>
                        <a:pt x="71127" y="812800"/>
                      </a:cubicBezTo>
                      <a:cubicBezTo>
                        <a:pt x="66894" y="789093"/>
                        <a:pt x="854" y="764540"/>
                        <a:pt x="7" y="736600"/>
                      </a:cubicBezTo>
                      <a:cubicBezTo>
                        <a:pt x="-840" y="708660"/>
                        <a:pt x="79594" y="654473"/>
                        <a:pt x="81287" y="624840"/>
                      </a:cubicBezTo>
                      <a:cubicBezTo>
                        <a:pt x="82980" y="595207"/>
                        <a:pt x="5934" y="581660"/>
                        <a:pt x="10167" y="548640"/>
                      </a:cubicBezTo>
                      <a:cubicBezTo>
                        <a:pt x="14400" y="515620"/>
                        <a:pt x="77054" y="488527"/>
                        <a:pt x="76207" y="462280"/>
                      </a:cubicBezTo>
                      <a:cubicBezTo>
                        <a:pt x="75360" y="436033"/>
                        <a:pt x="854" y="396240"/>
                        <a:pt x="5087" y="370840"/>
                      </a:cubicBezTo>
                      <a:cubicBezTo>
                        <a:pt x="9320" y="345440"/>
                        <a:pt x="80864" y="300143"/>
                        <a:pt x="81287" y="274320"/>
                      </a:cubicBezTo>
                      <a:cubicBezTo>
                        <a:pt x="81710" y="248497"/>
                        <a:pt x="29640" y="234527"/>
                        <a:pt x="7627" y="215900"/>
                      </a:cubicBezTo>
                      <a:cubicBezTo>
                        <a:pt x="6780" y="145627"/>
                        <a:pt x="5934" y="75353"/>
                        <a:pt x="5087" y="5080"/>
                      </a:cubicBezTo>
                      <a:lnTo>
                        <a:pt x="1402087" y="0"/>
                      </a:lnTo>
                      <a:close/>
                    </a:path>
                  </a:pathLst>
                </a:custGeom>
                <a:gradFill flip="none" rotWithShape="1">
                  <a:gsLst>
                    <a:gs pos="0">
                      <a:schemeClr val="bg1">
                        <a:lumMod val="30000"/>
                      </a:schemeClr>
                    </a:gs>
                    <a:gs pos="85000">
                      <a:schemeClr val="bg1">
                        <a:lumMod val="95000"/>
                      </a:schemeClr>
                    </a:gs>
                    <a:gs pos="42000">
                      <a:srgbClr val="B6B6B6">
                        <a:lumMod val="95000"/>
                      </a:srgbClr>
                    </a:gs>
                    <a:gs pos="70000">
                      <a:schemeClr val="bg1">
                        <a:lumMod val="66000"/>
                      </a:schemeClr>
                    </a:gs>
                    <a:gs pos="100000">
                      <a:schemeClr val="bg1">
                        <a:lumMod val="3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58" name="Freeform 257"/>
                <p:cNvSpPr/>
                <p:nvPr/>
              </p:nvSpPr>
              <p:spPr>
                <a:xfrm>
                  <a:off x="4088110" y="5582219"/>
                  <a:ext cx="972621" cy="141683"/>
                </a:xfrm>
                <a:custGeom>
                  <a:avLst/>
                  <a:gdLst/>
                  <a:ahLst/>
                  <a:cxnLst/>
                  <a:rect l="l" t="t" r="r" b="b"/>
                  <a:pathLst>
                    <a:path w="1391920" h="202763">
                      <a:moveTo>
                        <a:pt x="1319213" y="0"/>
                      </a:moveTo>
                      <a:cubicBezTo>
                        <a:pt x="1334296" y="26053"/>
                        <a:pt x="1370352" y="47098"/>
                        <a:pt x="1391920" y="71362"/>
                      </a:cubicBezTo>
                      <a:lnTo>
                        <a:pt x="1381165" y="110247"/>
                      </a:lnTo>
                      <a:lnTo>
                        <a:pt x="58123" y="202763"/>
                      </a:lnTo>
                      <a:cubicBezTo>
                        <a:pt x="24364" y="171244"/>
                        <a:pt x="3328" y="138811"/>
                        <a:pt x="0" y="106922"/>
                      </a:cubicBezTo>
                      <a:lnTo>
                        <a:pt x="11949" y="9141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59" name="Freeform 258"/>
                <p:cNvSpPr/>
                <p:nvPr/>
              </p:nvSpPr>
              <p:spPr>
                <a:xfrm>
                  <a:off x="4077456" y="5459198"/>
                  <a:ext cx="983340" cy="141952"/>
                </a:xfrm>
                <a:custGeom>
                  <a:avLst/>
                  <a:gdLst/>
                  <a:ahLst/>
                  <a:cxnLst/>
                  <a:rect l="l" t="t" r="r" b="b"/>
                  <a:pathLst>
                    <a:path w="1407261" h="203148">
                      <a:moveTo>
                        <a:pt x="1336797" y="0"/>
                      </a:moveTo>
                      <a:cubicBezTo>
                        <a:pt x="1357661" y="27201"/>
                        <a:pt x="1404570" y="52371"/>
                        <a:pt x="1407167" y="77042"/>
                      </a:cubicBezTo>
                      <a:cubicBezTo>
                        <a:pt x="1408668" y="91297"/>
                        <a:pt x="1392052" y="101895"/>
                        <a:pt x="1373255" y="112030"/>
                      </a:cubicBezTo>
                      <a:lnTo>
                        <a:pt x="70196" y="203148"/>
                      </a:lnTo>
                      <a:cubicBezTo>
                        <a:pt x="71464" y="201748"/>
                        <a:pt x="71373" y="200338"/>
                        <a:pt x="71127" y="198962"/>
                      </a:cubicBezTo>
                      <a:cubicBezTo>
                        <a:pt x="66894" y="175255"/>
                        <a:pt x="854" y="150702"/>
                        <a:pt x="7" y="122762"/>
                      </a:cubicBezTo>
                      <a:cubicBezTo>
                        <a:pt x="-246" y="114413"/>
                        <a:pt x="6760" y="103719"/>
                        <a:pt x="17044" y="92286"/>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60" name="Freeform 259"/>
                <p:cNvSpPr/>
                <p:nvPr/>
              </p:nvSpPr>
              <p:spPr>
                <a:xfrm>
                  <a:off x="4084442" y="5334842"/>
                  <a:ext cx="972935" cy="141885"/>
                </a:xfrm>
                <a:custGeom>
                  <a:avLst/>
                  <a:gdLst/>
                  <a:ahLst/>
                  <a:cxnLst/>
                  <a:rect l="l" t="t" r="r" b="b"/>
                  <a:pathLst>
                    <a:path w="1392370" h="203052">
                      <a:moveTo>
                        <a:pt x="1329184" y="0"/>
                      </a:moveTo>
                      <a:cubicBezTo>
                        <a:pt x="1347693" y="33963"/>
                        <a:pt x="1396511" y="61654"/>
                        <a:pt x="1392089" y="82288"/>
                      </a:cubicBezTo>
                      <a:cubicBezTo>
                        <a:pt x="1389561" y="94086"/>
                        <a:pt x="1370889" y="102738"/>
                        <a:pt x="1352660" y="112938"/>
                      </a:cubicBezTo>
                      <a:lnTo>
                        <a:pt x="63968" y="203052"/>
                      </a:lnTo>
                      <a:cubicBezTo>
                        <a:pt x="68944" y="198570"/>
                        <a:pt x="71031" y="193484"/>
                        <a:pt x="71289" y="188968"/>
                      </a:cubicBezTo>
                      <a:cubicBezTo>
                        <a:pt x="72982" y="159335"/>
                        <a:pt x="-4064" y="145788"/>
                        <a:pt x="169" y="112768"/>
                      </a:cubicBezTo>
                      <a:lnTo>
                        <a:pt x="10766" y="9219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61" name="Freeform 260"/>
                <p:cNvSpPr/>
                <p:nvPr/>
              </p:nvSpPr>
              <p:spPr>
                <a:xfrm>
                  <a:off x="4080889" y="5208287"/>
                  <a:ext cx="979841" cy="141561"/>
                </a:xfrm>
                <a:custGeom>
                  <a:avLst/>
                  <a:gdLst/>
                  <a:ahLst/>
                  <a:cxnLst/>
                  <a:rect l="l" t="t" r="r" b="b"/>
                  <a:pathLst>
                    <a:path w="1402254" h="202589">
                      <a:moveTo>
                        <a:pt x="1327165" y="0"/>
                      </a:moveTo>
                      <a:cubicBezTo>
                        <a:pt x="1345502" y="29113"/>
                        <a:pt x="1402254" y="67305"/>
                        <a:pt x="1402254" y="85604"/>
                      </a:cubicBezTo>
                      <a:cubicBezTo>
                        <a:pt x="1402254" y="94165"/>
                        <a:pt x="1389065" y="102342"/>
                        <a:pt x="1373510" y="111338"/>
                      </a:cubicBezTo>
                      <a:lnTo>
                        <a:pt x="68561" y="202589"/>
                      </a:lnTo>
                      <a:cubicBezTo>
                        <a:pt x="60713" y="175951"/>
                        <a:pt x="-3772" y="139763"/>
                        <a:pt x="174" y="116084"/>
                      </a:cubicBezTo>
                      <a:cubicBezTo>
                        <a:pt x="1332" y="109136"/>
                        <a:pt x="7527" y="100699"/>
                        <a:pt x="16039" y="91683"/>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62" name="Freeform 261"/>
                <p:cNvSpPr/>
                <p:nvPr/>
              </p:nvSpPr>
              <p:spPr>
                <a:xfrm>
                  <a:off x="4336590" y="5852030"/>
                  <a:ext cx="470337" cy="95190"/>
                </a:xfrm>
                <a:custGeom>
                  <a:avLst/>
                  <a:gdLst>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325"/>
                    <a:gd name="connsiteX1" fmla="*/ 241300 w 673100"/>
                    <a:gd name="connsiteY1" fmla="*/ 121920 h 127325"/>
                    <a:gd name="connsiteX2" fmla="*/ 434340 w 673100"/>
                    <a:gd name="connsiteY2" fmla="*/ 127000 h 127325"/>
                    <a:gd name="connsiteX3" fmla="*/ 673100 w 673100"/>
                    <a:gd name="connsiteY3" fmla="*/ 0 h 127325"/>
                    <a:gd name="connsiteX4" fmla="*/ 0 w 673100"/>
                    <a:gd name="connsiteY4" fmla="*/ 5080 h 127325"/>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4622"/>
                    <a:gd name="connsiteX1" fmla="*/ 241300 w 673100"/>
                    <a:gd name="connsiteY1" fmla="*/ 121920 h 134622"/>
                    <a:gd name="connsiteX2" fmla="*/ 434340 w 673100"/>
                    <a:gd name="connsiteY2" fmla="*/ 127000 h 134622"/>
                    <a:gd name="connsiteX3" fmla="*/ 673100 w 673100"/>
                    <a:gd name="connsiteY3" fmla="*/ 0 h 134622"/>
                    <a:gd name="connsiteX4" fmla="*/ 0 w 673100"/>
                    <a:gd name="connsiteY4" fmla="*/ 5080 h 134622"/>
                    <a:gd name="connsiteX0" fmla="*/ 0 w 673100"/>
                    <a:gd name="connsiteY0" fmla="*/ 5080 h 136227"/>
                    <a:gd name="connsiteX1" fmla="*/ 241300 w 673100"/>
                    <a:gd name="connsiteY1" fmla="*/ 121920 h 136227"/>
                    <a:gd name="connsiteX2" fmla="*/ 434340 w 673100"/>
                    <a:gd name="connsiteY2" fmla="*/ 127000 h 136227"/>
                    <a:gd name="connsiteX3" fmla="*/ 673100 w 673100"/>
                    <a:gd name="connsiteY3" fmla="*/ 0 h 136227"/>
                    <a:gd name="connsiteX4" fmla="*/ 0 w 673100"/>
                    <a:gd name="connsiteY4" fmla="*/ 5080 h 136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00" h="136227">
                      <a:moveTo>
                        <a:pt x="0" y="5080"/>
                      </a:moveTo>
                      <a:cubicBezTo>
                        <a:pt x="423" y="32597"/>
                        <a:pt x="226483" y="106892"/>
                        <a:pt x="241300" y="121920"/>
                      </a:cubicBezTo>
                      <a:cubicBezTo>
                        <a:pt x="256117" y="136948"/>
                        <a:pt x="421428" y="142452"/>
                        <a:pt x="434340" y="127000"/>
                      </a:cubicBezTo>
                      <a:cubicBezTo>
                        <a:pt x="447252" y="111548"/>
                        <a:pt x="671618" y="23283"/>
                        <a:pt x="673100" y="0"/>
                      </a:cubicBezTo>
                      <a:lnTo>
                        <a:pt x="0" y="508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256" name="Oval 255"/>
              <p:cNvSpPr/>
              <p:nvPr/>
            </p:nvSpPr>
            <p:spPr>
              <a:xfrm rot="19080000" flipH="1">
                <a:off x="3521505" y="2435407"/>
                <a:ext cx="890063" cy="265634"/>
              </a:xfrm>
              <a:prstGeom prst="ellipse">
                <a:avLst/>
              </a:prstGeom>
              <a:gradFill flip="none" rotWithShape="1">
                <a:gsLst>
                  <a:gs pos="28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252" name="Oval 251"/>
            <p:cNvSpPr/>
            <p:nvPr/>
          </p:nvSpPr>
          <p:spPr>
            <a:xfrm>
              <a:off x="6247117" y="2512770"/>
              <a:ext cx="1162056" cy="1079812"/>
            </a:xfrm>
            <a:prstGeom prst="ellipse">
              <a:avLst/>
            </a:prstGeom>
            <a:gradFill flip="none" rotWithShape="1">
              <a:gsLst>
                <a:gs pos="32000">
                  <a:srgbClr val="00B0F0"/>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ysClr val="window" lastClr="FFFFFF"/>
                </a:solidFill>
                <a:latin typeface="Arial" panose="020B0604020202020204" pitchFamily="34" charset="0"/>
                <a:cs typeface="Arial" panose="020B0604020202020204" pitchFamily="34" charset="0"/>
              </a:endParaRPr>
            </a:p>
          </p:txBody>
        </p:sp>
      </p:grpSp>
      <p:grpSp>
        <p:nvGrpSpPr>
          <p:cNvPr id="272" name="Group 271"/>
          <p:cNvGrpSpPr/>
          <p:nvPr userDrawn="1"/>
        </p:nvGrpSpPr>
        <p:grpSpPr>
          <a:xfrm rot="13446306">
            <a:off x="5719163" y="1438947"/>
            <a:ext cx="588708" cy="1040024"/>
            <a:chOff x="5869118" y="1864852"/>
            <a:chExt cx="1875650" cy="3313563"/>
          </a:xfrm>
        </p:grpSpPr>
        <p:grpSp>
          <p:nvGrpSpPr>
            <p:cNvPr id="273" name="Group 272"/>
            <p:cNvGrpSpPr/>
            <p:nvPr/>
          </p:nvGrpSpPr>
          <p:grpSpPr>
            <a:xfrm>
              <a:off x="5869118" y="1864852"/>
              <a:ext cx="1875650" cy="3313563"/>
              <a:chOff x="3509193" y="2208611"/>
              <a:chExt cx="2116248" cy="3738609"/>
            </a:xfrm>
          </p:grpSpPr>
          <p:sp>
            <p:nvSpPr>
              <p:cNvPr id="275" name="Freeform 274"/>
              <p:cNvSpPr/>
              <p:nvPr/>
            </p:nvSpPr>
            <p:spPr>
              <a:xfrm>
                <a:off x="3509193" y="2208611"/>
                <a:ext cx="2116248" cy="2832368"/>
              </a:xfrm>
              <a:custGeom>
                <a:avLst/>
                <a:gdLst>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 name="connsiteX0" fmla="*/ 632444 w 1264888"/>
                  <a:gd name="connsiteY0" fmla="*/ 0 h 1692915"/>
                  <a:gd name="connsiteX1" fmla="*/ 1264888 w 1264888"/>
                  <a:gd name="connsiteY1" fmla="*/ 632458 h 1692915"/>
                  <a:gd name="connsiteX2" fmla="*/ 1212119 w 1264888"/>
                  <a:gd name="connsiteY2" fmla="*/ 884292 h 1692915"/>
                  <a:gd name="connsiteX3" fmla="*/ 1026175 w 1264888"/>
                  <a:gd name="connsiteY3" fmla="*/ 1272920 h 1692915"/>
                  <a:gd name="connsiteX4" fmla="*/ 972341 w 1264888"/>
                  <a:gd name="connsiteY4" fmla="*/ 1634870 h 1692915"/>
                  <a:gd name="connsiteX5" fmla="*/ 888132 w 1264888"/>
                  <a:gd name="connsiteY5" fmla="*/ 1692910 h 1692915"/>
                  <a:gd name="connsiteX6" fmla="*/ 376023 w 1264888"/>
                  <a:gd name="connsiteY6" fmla="*/ 1692910 h 1692915"/>
                  <a:gd name="connsiteX7" fmla="*/ 292547 w 1264888"/>
                  <a:gd name="connsiteY7" fmla="*/ 1635064 h 1692915"/>
                  <a:gd name="connsiteX8" fmla="*/ 238713 w 1264888"/>
                  <a:gd name="connsiteY8" fmla="*/ 1273114 h 1692915"/>
                  <a:gd name="connsiteX9" fmla="*/ 52769 w 1264888"/>
                  <a:gd name="connsiteY9" fmla="*/ 884486 h 1692915"/>
                  <a:gd name="connsiteX10" fmla="*/ 0 w 1264888"/>
                  <a:gd name="connsiteY10" fmla="*/ 632652 h 1692915"/>
                  <a:gd name="connsiteX11" fmla="*/ 632444 w 1264888"/>
                  <a:gd name="connsiteY11" fmla="*/ 194 h 1692915"/>
                  <a:gd name="connsiteX12" fmla="*/ 632444 w 1264888"/>
                  <a:gd name="connsiteY12" fmla="*/ 0 h 169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88" h="1692915">
                    <a:moveTo>
                      <a:pt x="632444" y="0"/>
                    </a:moveTo>
                    <a:cubicBezTo>
                      <a:pt x="981735" y="7"/>
                      <a:pt x="1264888" y="283165"/>
                      <a:pt x="1264888" y="632458"/>
                    </a:cubicBezTo>
                    <a:cubicBezTo>
                      <a:pt x="1264888" y="722053"/>
                      <a:pt x="1243620" y="800469"/>
                      <a:pt x="1212119" y="884292"/>
                    </a:cubicBezTo>
                    <a:cubicBezTo>
                      <a:pt x="1180618" y="968115"/>
                      <a:pt x="1050676" y="1160843"/>
                      <a:pt x="1026175" y="1272920"/>
                    </a:cubicBezTo>
                    <a:cubicBezTo>
                      <a:pt x="1001674" y="1384997"/>
                      <a:pt x="991603" y="1515490"/>
                      <a:pt x="972341" y="1634870"/>
                    </a:cubicBezTo>
                    <a:cubicBezTo>
                      <a:pt x="968177" y="1660679"/>
                      <a:pt x="924730" y="1693412"/>
                      <a:pt x="888132" y="1692910"/>
                    </a:cubicBezTo>
                    <a:cubicBezTo>
                      <a:pt x="851534" y="1692408"/>
                      <a:pt x="429358" y="1692412"/>
                      <a:pt x="376023" y="1692910"/>
                    </a:cubicBezTo>
                    <a:cubicBezTo>
                      <a:pt x="322688" y="1693408"/>
                      <a:pt x="296690" y="1660741"/>
                      <a:pt x="292547" y="1635064"/>
                    </a:cubicBezTo>
                    <a:cubicBezTo>
                      <a:pt x="273285" y="1515684"/>
                      <a:pt x="263214" y="1385191"/>
                      <a:pt x="238713" y="1273114"/>
                    </a:cubicBezTo>
                    <a:cubicBezTo>
                      <a:pt x="214212" y="1161037"/>
                      <a:pt x="84270" y="968309"/>
                      <a:pt x="52769" y="884486"/>
                    </a:cubicBezTo>
                    <a:cubicBezTo>
                      <a:pt x="21268" y="800663"/>
                      <a:pt x="0" y="722247"/>
                      <a:pt x="0" y="632652"/>
                    </a:cubicBezTo>
                    <a:cubicBezTo>
                      <a:pt x="0" y="283359"/>
                      <a:pt x="283153" y="201"/>
                      <a:pt x="632444" y="194"/>
                    </a:cubicBezTo>
                    <a:lnTo>
                      <a:pt x="632444" y="0"/>
                    </a:lnTo>
                    <a:close/>
                  </a:path>
                </a:pathLst>
              </a:custGeom>
              <a:solidFill>
                <a:srgbClr val="00B0F0">
                  <a:alpha val="20000"/>
                </a:srgbClr>
              </a:solidFill>
              <a:ln>
                <a:noFill/>
              </a:ln>
              <a:effectLst/>
              <a:scene3d>
                <a:camera prst="orthographicFront">
                  <a:rot lat="0" lon="0" rev="0"/>
                </a:camera>
                <a:lightRig rig="twoPt" dir="t">
                  <a:rot lat="0" lon="0" rev="0"/>
                </a:lightRig>
              </a:scene3d>
              <a:sp3d prstMaterial="clear">
                <a:bevelT w="317500" h="1905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nvGrpSpPr>
              <p:cNvPr id="276" name="Group 275"/>
              <p:cNvGrpSpPr/>
              <p:nvPr/>
            </p:nvGrpSpPr>
            <p:grpSpPr>
              <a:xfrm>
                <a:off x="4221220" y="3554960"/>
                <a:ext cx="700181" cy="1502973"/>
                <a:chOff x="6480420" y="3161623"/>
                <a:chExt cx="813818" cy="1746901"/>
              </a:xfrm>
            </p:grpSpPr>
            <p:sp>
              <p:nvSpPr>
                <p:cNvPr id="285" name="Freeform 284"/>
                <p:cNvSpPr/>
                <p:nvPr/>
              </p:nvSpPr>
              <p:spPr>
                <a:xfrm>
                  <a:off x="6747926" y="4123689"/>
                  <a:ext cx="27850" cy="772043"/>
                </a:xfrm>
                <a:custGeom>
                  <a:avLst/>
                  <a:gdLst>
                    <a:gd name="connsiteX0" fmla="*/ 0 w 34290"/>
                    <a:gd name="connsiteY0" fmla="*/ 0 h 950595"/>
                    <a:gd name="connsiteX1" fmla="*/ 34290 w 34290"/>
                    <a:gd name="connsiteY1" fmla="*/ 950595 h 950595"/>
                  </a:gdLst>
                  <a:ahLst/>
                  <a:cxnLst>
                    <a:cxn ang="0">
                      <a:pos x="connsiteX0" y="connsiteY0"/>
                    </a:cxn>
                    <a:cxn ang="0">
                      <a:pos x="connsiteX1" y="connsiteY1"/>
                    </a:cxn>
                  </a:cxnLst>
                  <a:rect l="l" t="t" r="r" b="b"/>
                  <a:pathLst>
                    <a:path w="34290" h="950595">
                      <a:moveTo>
                        <a:pt x="0" y="0"/>
                      </a:moveTo>
                      <a:lnTo>
                        <a:pt x="34290" y="950595"/>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86" name="Freeform 285"/>
                <p:cNvSpPr/>
                <p:nvPr/>
              </p:nvSpPr>
              <p:spPr>
                <a:xfrm>
                  <a:off x="7003162" y="4123690"/>
                  <a:ext cx="21660" cy="770496"/>
                </a:xfrm>
                <a:custGeom>
                  <a:avLst/>
                  <a:gdLst>
                    <a:gd name="connsiteX0" fmla="*/ 26670 w 26670"/>
                    <a:gd name="connsiteY0" fmla="*/ 0 h 948690"/>
                    <a:gd name="connsiteX1" fmla="*/ 0 w 26670"/>
                    <a:gd name="connsiteY1" fmla="*/ 948690 h 948690"/>
                  </a:gdLst>
                  <a:ahLst/>
                  <a:cxnLst>
                    <a:cxn ang="0">
                      <a:pos x="connsiteX0" y="connsiteY0"/>
                    </a:cxn>
                    <a:cxn ang="0">
                      <a:pos x="connsiteX1" y="connsiteY1"/>
                    </a:cxn>
                  </a:cxnLst>
                  <a:rect l="l" t="t" r="r" b="b"/>
                  <a:pathLst>
                    <a:path w="26670" h="948690">
                      <a:moveTo>
                        <a:pt x="26670" y="0"/>
                      </a:moveTo>
                      <a:lnTo>
                        <a:pt x="0" y="948690"/>
                      </a:lnTo>
                    </a:path>
                  </a:pathLst>
                </a:custGeom>
                <a:ln w="3175"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87" name="Freeform 286"/>
                <p:cNvSpPr/>
                <p:nvPr/>
              </p:nvSpPr>
              <p:spPr>
                <a:xfrm>
                  <a:off x="6672271" y="3166397"/>
                  <a:ext cx="120681" cy="521400"/>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123 w 148713"/>
                    <a:gd name="connsiteY0" fmla="*/ 0 h 641985"/>
                    <a:gd name="connsiteX1" fmla="*/ 3933 w 148713"/>
                    <a:gd name="connsiteY1" fmla="*/ 110490 h 641985"/>
                    <a:gd name="connsiteX2" fmla="*/ 34413 w 148713"/>
                    <a:gd name="connsiteY2" fmla="*/ 129540 h 641985"/>
                    <a:gd name="connsiteX3" fmla="*/ 57273 w 148713"/>
                    <a:gd name="connsiteY3" fmla="*/ 87630 h 641985"/>
                    <a:gd name="connsiteX4" fmla="*/ 30603 w 148713"/>
                    <a:gd name="connsiteY4" fmla="*/ 57150 h 641985"/>
                    <a:gd name="connsiteX5" fmla="*/ 15363 w 148713"/>
                    <a:gd name="connsiteY5" fmla="*/ 144780 h 641985"/>
                    <a:gd name="connsiteX6" fmla="*/ 148713 w 148713"/>
                    <a:gd name="connsiteY6" fmla="*/ 641985 h 641985"/>
                    <a:gd name="connsiteX0" fmla="*/ 0 w 148590"/>
                    <a:gd name="connsiteY0" fmla="*/ 0 h 641985"/>
                    <a:gd name="connsiteX1" fmla="*/ 3810 w 148590"/>
                    <a:gd name="connsiteY1" fmla="*/ 110490 h 641985"/>
                    <a:gd name="connsiteX2" fmla="*/ 34290 w 148590"/>
                    <a:gd name="connsiteY2" fmla="*/ 129540 h 641985"/>
                    <a:gd name="connsiteX3" fmla="*/ 57150 w 148590"/>
                    <a:gd name="connsiteY3" fmla="*/ 87630 h 641985"/>
                    <a:gd name="connsiteX4" fmla="*/ 30480 w 148590"/>
                    <a:gd name="connsiteY4" fmla="*/ 57150 h 641985"/>
                    <a:gd name="connsiteX5" fmla="*/ 15240 w 148590"/>
                    <a:gd name="connsiteY5" fmla="*/ 144780 h 641985"/>
                    <a:gd name="connsiteX6" fmla="*/ 148590 w 148590"/>
                    <a:gd name="connsiteY6" fmla="*/ 641985 h 64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 h="641985">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931" y="57677"/>
                        <a:pt x="30480" y="57150"/>
                      </a:cubicBezTo>
                      <a:cubicBezTo>
                        <a:pt x="8255" y="56515"/>
                        <a:pt x="-4445" y="47308"/>
                        <a:pt x="15240" y="144780"/>
                      </a:cubicBezTo>
                      <a:cubicBezTo>
                        <a:pt x="34925" y="242253"/>
                        <a:pt x="104140" y="467995"/>
                        <a:pt x="148590" y="641985"/>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88" name="Freeform 287"/>
                <p:cNvSpPr/>
                <p:nvPr/>
              </p:nvSpPr>
              <p:spPr>
                <a:xfrm rot="21360000" flipH="1">
                  <a:off x="6946994" y="3161623"/>
                  <a:ext cx="116190" cy="521665"/>
                </a:xfrm>
                <a:custGeom>
                  <a:avLst/>
                  <a:gdLst>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8590"/>
                    <a:gd name="connsiteY0" fmla="*/ 0 h 666750"/>
                    <a:gd name="connsiteX1" fmla="*/ 3810 w 148590"/>
                    <a:gd name="connsiteY1" fmla="*/ 110490 h 666750"/>
                    <a:gd name="connsiteX2" fmla="*/ 34290 w 148590"/>
                    <a:gd name="connsiteY2" fmla="*/ 129540 h 666750"/>
                    <a:gd name="connsiteX3" fmla="*/ 57150 w 148590"/>
                    <a:gd name="connsiteY3" fmla="*/ 87630 h 666750"/>
                    <a:gd name="connsiteX4" fmla="*/ 30480 w 148590"/>
                    <a:gd name="connsiteY4" fmla="*/ 57150 h 666750"/>
                    <a:gd name="connsiteX5" fmla="*/ 15240 w 148590"/>
                    <a:gd name="connsiteY5" fmla="*/ 144780 h 666750"/>
                    <a:gd name="connsiteX6" fmla="*/ 148590 w 148590"/>
                    <a:gd name="connsiteY6" fmla="*/ 666750 h 666750"/>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 name="connsiteX0" fmla="*/ 0 w 143061"/>
                    <a:gd name="connsiteY0" fmla="*/ 0 h 642311"/>
                    <a:gd name="connsiteX1" fmla="*/ 3810 w 143061"/>
                    <a:gd name="connsiteY1" fmla="*/ 110490 h 642311"/>
                    <a:gd name="connsiteX2" fmla="*/ 34290 w 143061"/>
                    <a:gd name="connsiteY2" fmla="*/ 129540 h 642311"/>
                    <a:gd name="connsiteX3" fmla="*/ 57150 w 143061"/>
                    <a:gd name="connsiteY3" fmla="*/ 87630 h 642311"/>
                    <a:gd name="connsiteX4" fmla="*/ 30480 w 143061"/>
                    <a:gd name="connsiteY4" fmla="*/ 57150 h 642311"/>
                    <a:gd name="connsiteX5" fmla="*/ 15240 w 143061"/>
                    <a:gd name="connsiteY5" fmla="*/ 144780 h 642311"/>
                    <a:gd name="connsiteX6" fmla="*/ 143061 w 143061"/>
                    <a:gd name="connsiteY6" fmla="*/ 642311 h 64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061" h="642311">
                      <a:moveTo>
                        <a:pt x="0" y="0"/>
                      </a:moveTo>
                      <a:cubicBezTo>
                        <a:pt x="1270" y="36830"/>
                        <a:pt x="3175" y="92710"/>
                        <a:pt x="3810" y="110490"/>
                      </a:cubicBezTo>
                      <a:cubicBezTo>
                        <a:pt x="4445" y="128270"/>
                        <a:pt x="18415" y="132715"/>
                        <a:pt x="34290" y="129540"/>
                      </a:cubicBezTo>
                      <a:cubicBezTo>
                        <a:pt x="50165" y="126365"/>
                        <a:pt x="62865" y="111125"/>
                        <a:pt x="57150" y="87630"/>
                      </a:cubicBezTo>
                      <a:cubicBezTo>
                        <a:pt x="51435" y="64135"/>
                        <a:pt x="48877" y="55639"/>
                        <a:pt x="30480" y="57150"/>
                      </a:cubicBezTo>
                      <a:cubicBezTo>
                        <a:pt x="6441" y="59125"/>
                        <a:pt x="-3523" y="47253"/>
                        <a:pt x="15240" y="144780"/>
                      </a:cubicBezTo>
                      <a:cubicBezTo>
                        <a:pt x="34003" y="242307"/>
                        <a:pt x="98611" y="468321"/>
                        <a:pt x="143061" y="642311"/>
                      </a:cubicBezTo>
                    </a:path>
                  </a:pathLst>
                </a:custGeom>
                <a:ln w="31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89" name="Freeform 288"/>
                <p:cNvSpPr/>
                <p:nvPr/>
              </p:nvSpPr>
              <p:spPr>
                <a:xfrm>
                  <a:off x="6480420" y="3237725"/>
                  <a:ext cx="812786" cy="82516"/>
                </a:xfrm>
                <a:custGeom>
                  <a:avLst/>
                  <a:gdLst>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 name="connsiteX0" fmla="*/ 0 w 1000760"/>
                    <a:gd name="connsiteY0" fmla="*/ 86360 h 101600"/>
                    <a:gd name="connsiteX1" fmla="*/ 261620 w 1000760"/>
                    <a:gd name="connsiteY1" fmla="*/ 5080 h 101600"/>
                    <a:gd name="connsiteX2" fmla="*/ 662940 w 1000760"/>
                    <a:gd name="connsiteY2" fmla="*/ 0 h 101600"/>
                    <a:gd name="connsiteX3" fmla="*/ 1000760 w 100076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1000760" h="101600">
                      <a:moveTo>
                        <a:pt x="0" y="86360"/>
                      </a:moveTo>
                      <a:cubicBezTo>
                        <a:pt x="143087" y="92287"/>
                        <a:pt x="174413" y="55033"/>
                        <a:pt x="261620" y="5080"/>
                      </a:cubicBezTo>
                      <a:cubicBezTo>
                        <a:pt x="395393" y="33867"/>
                        <a:pt x="516467" y="37253"/>
                        <a:pt x="662940" y="0"/>
                      </a:cubicBezTo>
                      <a:cubicBezTo>
                        <a:pt x="813647" y="69427"/>
                        <a:pt x="865293" y="90593"/>
                        <a:pt x="1000760" y="101600"/>
                      </a:cubicBezTo>
                    </a:path>
                  </a:pathLst>
                </a:custGeom>
                <a:noFill/>
                <a:ln w="19050" cap="rnd" cmpd="sng">
                  <a:solidFill>
                    <a:schemeClr val="tx1">
                      <a:lumMod val="50000"/>
                      <a:lumOff val="50000"/>
                    </a:schemeClr>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90" name="Freeform 289"/>
                <p:cNvSpPr/>
                <p:nvPr/>
              </p:nvSpPr>
              <p:spPr>
                <a:xfrm flipH="1">
                  <a:off x="6678460" y="3749170"/>
                  <a:ext cx="412581" cy="1159354"/>
                </a:xfrm>
                <a:custGeom>
                  <a:avLst/>
                  <a:gdLst/>
                  <a:ahLst/>
                  <a:cxnLst/>
                  <a:rect l="l" t="t" r="r" b="b"/>
                  <a:pathLst>
                    <a:path w="508000" h="1427480">
                      <a:moveTo>
                        <a:pt x="254000" y="647700"/>
                      </a:moveTo>
                      <a:cubicBezTo>
                        <a:pt x="294681" y="647700"/>
                        <a:pt x="327660" y="680679"/>
                        <a:pt x="327660" y="721360"/>
                      </a:cubicBezTo>
                      <a:cubicBezTo>
                        <a:pt x="327660" y="762041"/>
                        <a:pt x="294681" y="795020"/>
                        <a:pt x="254000" y="795020"/>
                      </a:cubicBezTo>
                      <a:cubicBezTo>
                        <a:pt x="213319" y="795020"/>
                        <a:pt x="180340" y="762041"/>
                        <a:pt x="180340" y="721360"/>
                      </a:cubicBezTo>
                      <a:cubicBezTo>
                        <a:pt x="180340" y="680679"/>
                        <a:pt x="213319" y="647700"/>
                        <a:pt x="254000" y="647700"/>
                      </a:cubicBezTo>
                      <a:close/>
                      <a:moveTo>
                        <a:pt x="325120" y="0"/>
                      </a:moveTo>
                      <a:lnTo>
                        <a:pt x="254000" y="2453"/>
                      </a:lnTo>
                      <a:lnTo>
                        <a:pt x="182880" y="0"/>
                      </a:lnTo>
                      <a:lnTo>
                        <a:pt x="182880" y="375920"/>
                      </a:lnTo>
                      <a:cubicBezTo>
                        <a:pt x="178647" y="395393"/>
                        <a:pt x="191135" y="416348"/>
                        <a:pt x="170180" y="434340"/>
                      </a:cubicBezTo>
                      <a:cubicBezTo>
                        <a:pt x="149225" y="452332"/>
                        <a:pt x="11007" y="447040"/>
                        <a:pt x="10160" y="551180"/>
                      </a:cubicBezTo>
                      <a:cubicBezTo>
                        <a:pt x="9313" y="655320"/>
                        <a:pt x="53975" y="768138"/>
                        <a:pt x="53340" y="817880"/>
                      </a:cubicBezTo>
                      <a:cubicBezTo>
                        <a:pt x="52705" y="867622"/>
                        <a:pt x="0" y="937472"/>
                        <a:pt x="0" y="995680"/>
                      </a:cubicBezTo>
                      <a:lnTo>
                        <a:pt x="0" y="1427480"/>
                      </a:lnTo>
                      <a:lnTo>
                        <a:pt x="254000" y="1427480"/>
                      </a:lnTo>
                      <a:lnTo>
                        <a:pt x="508000" y="1427480"/>
                      </a:lnTo>
                      <a:lnTo>
                        <a:pt x="508000" y="995680"/>
                      </a:lnTo>
                      <a:cubicBezTo>
                        <a:pt x="508000" y="937472"/>
                        <a:pt x="455295" y="867622"/>
                        <a:pt x="454660" y="817880"/>
                      </a:cubicBezTo>
                      <a:cubicBezTo>
                        <a:pt x="454025" y="768138"/>
                        <a:pt x="498687" y="655320"/>
                        <a:pt x="497840" y="551180"/>
                      </a:cubicBezTo>
                      <a:cubicBezTo>
                        <a:pt x="496993" y="447040"/>
                        <a:pt x="358775" y="452332"/>
                        <a:pt x="337820" y="434340"/>
                      </a:cubicBezTo>
                      <a:cubicBezTo>
                        <a:pt x="316865" y="416348"/>
                        <a:pt x="329353" y="395393"/>
                        <a:pt x="325120" y="375920"/>
                      </a:cubicBezTo>
                      <a:close/>
                    </a:path>
                  </a:pathLst>
                </a:custGeom>
                <a:solidFill>
                  <a:schemeClr val="bg1">
                    <a:alpha val="20000"/>
                  </a:schemeClr>
                </a:solidFill>
                <a:ln>
                  <a:noFill/>
                </a:ln>
                <a:effectLst/>
                <a:scene3d>
                  <a:camera prst="orthographicFront">
                    <a:rot lat="0" lon="0" rev="0"/>
                  </a:camera>
                  <a:lightRig rig="chilly" dir="t"/>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91" name="Freeform 290"/>
                <p:cNvSpPr/>
                <p:nvPr/>
              </p:nvSpPr>
              <p:spPr>
                <a:xfrm>
                  <a:off x="6480420"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92" name="Freeform 291"/>
                <p:cNvSpPr/>
                <p:nvPr/>
              </p:nvSpPr>
              <p:spPr>
                <a:xfrm flipH="1">
                  <a:off x="7028123" y="3296361"/>
                  <a:ext cx="266115" cy="826195"/>
                </a:xfrm>
                <a:custGeom>
                  <a:avLst/>
                  <a:gdLst>
                    <a:gd name="connsiteX0" fmla="*/ 7620 w 327660"/>
                    <a:gd name="connsiteY0" fmla="*/ 80010 h 1988820"/>
                    <a:gd name="connsiteX1" fmla="*/ 0 w 327660"/>
                    <a:gd name="connsiteY1" fmla="*/ 0 h 1988820"/>
                    <a:gd name="connsiteX2" fmla="*/ 327660 w 327660"/>
                    <a:gd name="connsiteY2" fmla="*/ 1017270 h 1988820"/>
                    <a:gd name="connsiteX3" fmla="*/ 327660 w 327660"/>
                    <a:gd name="connsiteY3" fmla="*/ 1988820 h 1988820"/>
                    <a:gd name="connsiteX0" fmla="*/ 7620 w 327660"/>
                    <a:gd name="connsiteY0" fmla="*/ 80010 h 1017270"/>
                    <a:gd name="connsiteX1" fmla="*/ 0 w 327660"/>
                    <a:gd name="connsiteY1" fmla="*/ 0 h 1017270"/>
                    <a:gd name="connsiteX2" fmla="*/ 327660 w 327660"/>
                    <a:gd name="connsiteY2" fmla="*/ 1017270 h 1017270"/>
                  </a:gdLst>
                  <a:ahLst/>
                  <a:cxnLst>
                    <a:cxn ang="0">
                      <a:pos x="connsiteX0" y="connsiteY0"/>
                    </a:cxn>
                    <a:cxn ang="0">
                      <a:pos x="connsiteX1" y="connsiteY1"/>
                    </a:cxn>
                    <a:cxn ang="0">
                      <a:pos x="connsiteX2" y="connsiteY2"/>
                    </a:cxn>
                  </a:cxnLst>
                  <a:rect l="l" t="t" r="r" b="b"/>
                  <a:pathLst>
                    <a:path w="327660" h="1017270">
                      <a:moveTo>
                        <a:pt x="7620" y="80010"/>
                      </a:moveTo>
                      <a:lnTo>
                        <a:pt x="0" y="0"/>
                      </a:lnTo>
                      <a:lnTo>
                        <a:pt x="327660" y="1017270"/>
                      </a:lnTo>
                    </a:path>
                  </a:pathLst>
                </a:custGeom>
                <a:ln w="19050"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93" name="Rounded Rectangle 292"/>
                <p:cNvSpPr/>
                <p:nvPr/>
              </p:nvSpPr>
              <p:spPr>
                <a:xfrm>
                  <a:off x="6771291" y="3686870"/>
                  <a:ext cx="222795" cy="61888"/>
                </a:xfrm>
                <a:prstGeom prst="roundRect">
                  <a:avLst>
                    <a:gd name="adj" fmla="val 50000"/>
                  </a:avLst>
                </a:prstGeom>
                <a:solidFill>
                  <a:schemeClr val="bg1">
                    <a:alpha val="2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grpSp>
            <p:nvGrpSpPr>
              <p:cNvPr id="277" name="Group 276"/>
              <p:cNvGrpSpPr/>
              <p:nvPr/>
            </p:nvGrpSpPr>
            <p:grpSpPr>
              <a:xfrm>
                <a:off x="4077456" y="5030272"/>
                <a:ext cx="983340" cy="916948"/>
                <a:chOff x="4077456" y="5030272"/>
                <a:chExt cx="983340" cy="916948"/>
              </a:xfrm>
            </p:grpSpPr>
            <p:sp>
              <p:nvSpPr>
                <p:cNvPr id="279" name="Freeform 278"/>
                <p:cNvSpPr/>
                <p:nvPr/>
              </p:nvSpPr>
              <p:spPr>
                <a:xfrm>
                  <a:off x="4077456" y="5030272"/>
                  <a:ext cx="983340" cy="827082"/>
                </a:xfrm>
                <a:custGeom>
                  <a:avLst/>
                  <a:gdLst>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160"/>
                    <a:gd name="connsiteY0" fmla="*/ 0 h 1183640"/>
                    <a:gd name="connsiteX1" fmla="*/ 1402080 w 1407160"/>
                    <a:gd name="connsiteY1" fmla="*/ 177800 h 1183640"/>
                    <a:gd name="connsiteX2" fmla="*/ 1325880 w 1407160"/>
                    <a:gd name="connsiteY2" fmla="*/ 238760 h 1183640"/>
                    <a:gd name="connsiteX3" fmla="*/ 1407160 w 1407160"/>
                    <a:gd name="connsiteY3" fmla="*/ 340360 h 1183640"/>
                    <a:gd name="connsiteX4" fmla="*/ 1330960 w 1407160"/>
                    <a:gd name="connsiteY4" fmla="*/ 421640 h 1183640"/>
                    <a:gd name="connsiteX5" fmla="*/ 1402080 w 1407160"/>
                    <a:gd name="connsiteY5" fmla="*/ 518160 h 1183640"/>
                    <a:gd name="connsiteX6" fmla="*/ 1325880 w 1407160"/>
                    <a:gd name="connsiteY6" fmla="*/ 589280 h 1183640"/>
                    <a:gd name="connsiteX7" fmla="*/ 1407160 w 1407160"/>
                    <a:gd name="connsiteY7" fmla="*/ 690880 h 1183640"/>
                    <a:gd name="connsiteX8" fmla="*/ 1325880 w 1407160"/>
                    <a:gd name="connsiteY8" fmla="*/ 772160 h 1183640"/>
                    <a:gd name="connsiteX9" fmla="*/ 1407160 w 1407160"/>
                    <a:gd name="connsiteY9" fmla="*/ 863600 h 1183640"/>
                    <a:gd name="connsiteX10" fmla="*/ 1366520 w 1407160"/>
                    <a:gd name="connsiteY10" fmla="*/ 980440 h 1183640"/>
                    <a:gd name="connsiteX11" fmla="*/ 1036320 w 1407160"/>
                    <a:gd name="connsiteY11" fmla="*/ 1178560 h 1183640"/>
                    <a:gd name="connsiteX12" fmla="*/ 381000 w 1407160"/>
                    <a:gd name="connsiteY12" fmla="*/ 1183640 h 1183640"/>
                    <a:gd name="connsiteX13" fmla="*/ 15240 w 1407160"/>
                    <a:gd name="connsiteY13" fmla="*/ 899160 h 1183640"/>
                    <a:gd name="connsiteX14" fmla="*/ 71120 w 1407160"/>
                    <a:gd name="connsiteY14" fmla="*/ 812800 h 1183640"/>
                    <a:gd name="connsiteX15" fmla="*/ 0 w 1407160"/>
                    <a:gd name="connsiteY15" fmla="*/ 736600 h 1183640"/>
                    <a:gd name="connsiteX16" fmla="*/ 81280 w 1407160"/>
                    <a:gd name="connsiteY16" fmla="*/ 624840 h 1183640"/>
                    <a:gd name="connsiteX17" fmla="*/ 10160 w 1407160"/>
                    <a:gd name="connsiteY17" fmla="*/ 548640 h 1183640"/>
                    <a:gd name="connsiteX18" fmla="*/ 76200 w 1407160"/>
                    <a:gd name="connsiteY18" fmla="*/ 462280 h 1183640"/>
                    <a:gd name="connsiteX19" fmla="*/ 5080 w 1407160"/>
                    <a:gd name="connsiteY19" fmla="*/ 370840 h 1183640"/>
                    <a:gd name="connsiteX20" fmla="*/ 81280 w 1407160"/>
                    <a:gd name="connsiteY20" fmla="*/ 274320 h 1183640"/>
                    <a:gd name="connsiteX21" fmla="*/ 15240 w 1407160"/>
                    <a:gd name="connsiteY21" fmla="*/ 218440 h 1183640"/>
                    <a:gd name="connsiteX22" fmla="*/ 5080 w 1407160"/>
                    <a:gd name="connsiteY22" fmla="*/ 5080 h 1183640"/>
                    <a:gd name="connsiteX23" fmla="*/ 1402080 w 1407160"/>
                    <a:gd name="connsiteY23" fmla="*/ 0 h 1183640"/>
                    <a:gd name="connsiteX0" fmla="*/ 1402080 w 1407303"/>
                    <a:gd name="connsiteY0" fmla="*/ 0 h 1183640"/>
                    <a:gd name="connsiteX1" fmla="*/ 1402080 w 1407303"/>
                    <a:gd name="connsiteY1" fmla="*/ 177800 h 1183640"/>
                    <a:gd name="connsiteX2" fmla="*/ 1325880 w 1407303"/>
                    <a:gd name="connsiteY2" fmla="*/ 238760 h 1183640"/>
                    <a:gd name="connsiteX3" fmla="*/ 1407160 w 1407303"/>
                    <a:gd name="connsiteY3" fmla="*/ 340360 h 1183640"/>
                    <a:gd name="connsiteX4" fmla="*/ 1330960 w 1407303"/>
                    <a:gd name="connsiteY4" fmla="*/ 421640 h 1183640"/>
                    <a:gd name="connsiteX5" fmla="*/ 1402080 w 1407303"/>
                    <a:gd name="connsiteY5" fmla="*/ 518160 h 1183640"/>
                    <a:gd name="connsiteX6" fmla="*/ 1325880 w 1407303"/>
                    <a:gd name="connsiteY6" fmla="*/ 589280 h 1183640"/>
                    <a:gd name="connsiteX7" fmla="*/ 1407160 w 1407303"/>
                    <a:gd name="connsiteY7" fmla="*/ 690880 h 1183640"/>
                    <a:gd name="connsiteX8" fmla="*/ 1325880 w 1407303"/>
                    <a:gd name="connsiteY8" fmla="*/ 772160 h 1183640"/>
                    <a:gd name="connsiteX9" fmla="*/ 1407160 w 1407303"/>
                    <a:gd name="connsiteY9" fmla="*/ 863600 h 1183640"/>
                    <a:gd name="connsiteX10" fmla="*/ 1366520 w 1407303"/>
                    <a:gd name="connsiteY10" fmla="*/ 980440 h 1183640"/>
                    <a:gd name="connsiteX11" fmla="*/ 1036320 w 1407303"/>
                    <a:gd name="connsiteY11" fmla="*/ 1178560 h 1183640"/>
                    <a:gd name="connsiteX12" fmla="*/ 381000 w 1407303"/>
                    <a:gd name="connsiteY12" fmla="*/ 1183640 h 1183640"/>
                    <a:gd name="connsiteX13" fmla="*/ 15240 w 1407303"/>
                    <a:gd name="connsiteY13" fmla="*/ 899160 h 1183640"/>
                    <a:gd name="connsiteX14" fmla="*/ 71120 w 1407303"/>
                    <a:gd name="connsiteY14" fmla="*/ 812800 h 1183640"/>
                    <a:gd name="connsiteX15" fmla="*/ 0 w 1407303"/>
                    <a:gd name="connsiteY15" fmla="*/ 736600 h 1183640"/>
                    <a:gd name="connsiteX16" fmla="*/ 81280 w 1407303"/>
                    <a:gd name="connsiteY16" fmla="*/ 624840 h 1183640"/>
                    <a:gd name="connsiteX17" fmla="*/ 10160 w 1407303"/>
                    <a:gd name="connsiteY17" fmla="*/ 548640 h 1183640"/>
                    <a:gd name="connsiteX18" fmla="*/ 76200 w 1407303"/>
                    <a:gd name="connsiteY18" fmla="*/ 462280 h 1183640"/>
                    <a:gd name="connsiteX19" fmla="*/ 5080 w 1407303"/>
                    <a:gd name="connsiteY19" fmla="*/ 370840 h 1183640"/>
                    <a:gd name="connsiteX20" fmla="*/ 81280 w 1407303"/>
                    <a:gd name="connsiteY20" fmla="*/ 274320 h 1183640"/>
                    <a:gd name="connsiteX21" fmla="*/ 15240 w 1407303"/>
                    <a:gd name="connsiteY21" fmla="*/ 218440 h 1183640"/>
                    <a:gd name="connsiteX22" fmla="*/ 5080 w 1407303"/>
                    <a:gd name="connsiteY22" fmla="*/ 5080 h 1183640"/>
                    <a:gd name="connsiteX23" fmla="*/ 1402080 w 1407303"/>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0 w 1407254"/>
                    <a:gd name="connsiteY0" fmla="*/ 0 h 1183640"/>
                    <a:gd name="connsiteX1" fmla="*/ 1402080 w 1407254"/>
                    <a:gd name="connsiteY1" fmla="*/ 177800 h 1183640"/>
                    <a:gd name="connsiteX2" fmla="*/ 1325880 w 1407254"/>
                    <a:gd name="connsiteY2" fmla="*/ 238760 h 1183640"/>
                    <a:gd name="connsiteX3" fmla="*/ 1407160 w 1407254"/>
                    <a:gd name="connsiteY3" fmla="*/ 340360 h 1183640"/>
                    <a:gd name="connsiteX4" fmla="*/ 1330960 w 1407254"/>
                    <a:gd name="connsiteY4" fmla="*/ 421640 h 1183640"/>
                    <a:gd name="connsiteX5" fmla="*/ 1402080 w 1407254"/>
                    <a:gd name="connsiteY5" fmla="*/ 518160 h 1183640"/>
                    <a:gd name="connsiteX6" fmla="*/ 1325880 w 1407254"/>
                    <a:gd name="connsiteY6" fmla="*/ 589280 h 1183640"/>
                    <a:gd name="connsiteX7" fmla="*/ 1407160 w 1407254"/>
                    <a:gd name="connsiteY7" fmla="*/ 690880 h 1183640"/>
                    <a:gd name="connsiteX8" fmla="*/ 1325880 w 1407254"/>
                    <a:gd name="connsiteY8" fmla="*/ 772160 h 1183640"/>
                    <a:gd name="connsiteX9" fmla="*/ 1407160 w 1407254"/>
                    <a:gd name="connsiteY9" fmla="*/ 863600 h 1183640"/>
                    <a:gd name="connsiteX10" fmla="*/ 1366520 w 1407254"/>
                    <a:gd name="connsiteY10" fmla="*/ 980440 h 1183640"/>
                    <a:gd name="connsiteX11" fmla="*/ 1036320 w 1407254"/>
                    <a:gd name="connsiteY11" fmla="*/ 1178560 h 1183640"/>
                    <a:gd name="connsiteX12" fmla="*/ 381000 w 1407254"/>
                    <a:gd name="connsiteY12" fmla="*/ 1183640 h 1183640"/>
                    <a:gd name="connsiteX13" fmla="*/ 15240 w 1407254"/>
                    <a:gd name="connsiteY13" fmla="*/ 899160 h 1183640"/>
                    <a:gd name="connsiteX14" fmla="*/ 71120 w 1407254"/>
                    <a:gd name="connsiteY14" fmla="*/ 812800 h 1183640"/>
                    <a:gd name="connsiteX15" fmla="*/ 0 w 1407254"/>
                    <a:gd name="connsiteY15" fmla="*/ 736600 h 1183640"/>
                    <a:gd name="connsiteX16" fmla="*/ 81280 w 1407254"/>
                    <a:gd name="connsiteY16" fmla="*/ 624840 h 1183640"/>
                    <a:gd name="connsiteX17" fmla="*/ 10160 w 1407254"/>
                    <a:gd name="connsiteY17" fmla="*/ 548640 h 1183640"/>
                    <a:gd name="connsiteX18" fmla="*/ 76200 w 1407254"/>
                    <a:gd name="connsiteY18" fmla="*/ 462280 h 1183640"/>
                    <a:gd name="connsiteX19" fmla="*/ 5080 w 1407254"/>
                    <a:gd name="connsiteY19" fmla="*/ 370840 h 1183640"/>
                    <a:gd name="connsiteX20" fmla="*/ 81280 w 1407254"/>
                    <a:gd name="connsiteY20" fmla="*/ 274320 h 1183640"/>
                    <a:gd name="connsiteX21" fmla="*/ 15240 w 1407254"/>
                    <a:gd name="connsiteY21" fmla="*/ 218440 h 1183640"/>
                    <a:gd name="connsiteX22" fmla="*/ 5080 w 1407254"/>
                    <a:gd name="connsiteY22" fmla="*/ 5080 h 1183640"/>
                    <a:gd name="connsiteX23" fmla="*/ 1402080 w 1407254"/>
                    <a:gd name="connsiteY23" fmla="*/ 0 h 1183640"/>
                    <a:gd name="connsiteX0" fmla="*/ 1402089 w 1407263"/>
                    <a:gd name="connsiteY0" fmla="*/ 0 h 1183640"/>
                    <a:gd name="connsiteX1" fmla="*/ 1402089 w 1407263"/>
                    <a:gd name="connsiteY1" fmla="*/ 177800 h 1183640"/>
                    <a:gd name="connsiteX2" fmla="*/ 1325889 w 1407263"/>
                    <a:gd name="connsiteY2" fmla="*/ 238760 h 1183640"/>
                    <a:gd name="connsiteX3" fmla="*/ 1407169 w 1407263"/>
                    <a:gd name="connsiteY3" fmla="*/ 340360 h 1183640"/>
                    <a:gd name="connsiteX4" fmla="*/ 1330969 w 1407263"/>
                    <a:gd name="connsiteY4" fmla="*/ 421640 h 1183640"/>
                    <a:gd name="connsiteX5" fmla="*/ 1402089 w 1407263"/>
                    <a:gd name="connsiteY5" fmla="*/ 518160 h 1183640"/>
                    <a:gd name="connsiteX6" fmla="*/ 1325889 w 1407263"/>
                    <a:gd name="connsiteY6" fmla="*/ 589280 h 1183640"/>
                    <a:gd name="connsiteX7" fmla="*/ 1407169 w 1407263"/>
                    <a:gd name="connsiteY7" fmla="*/ 690880 h 1183640"/>
                    <a:gd name="connsiteX8" fmla="*/ 1325889 w 1407263"/>
                    <a:gd name="connsiteY8" fmla="*/ 772160 h 1183640"/>
                    <a:gd name="connsiteX9" fmla="*/ 1407169 w 1407263"/>
                    <a:gd name="connsiteY9" fmla="*/ 863600 h 1183640"/>
                    <a:gd name="connsiteX10" fmla="*/ 1366529 w 1407263"/>
                    <a:gd name="connsiteY10" fmla="*/ 980440 h 1183640"/>
                    <a:gd name="connsiteX11" fmla="*/ 1036329 w 1407263"/>
                    <a:gd name="connsiteY11" fmla="*/ 1178560 h 1183640"/>
                    <a:gd name="connsiteX12" fmla="*/ 381009 w 1407263"/>
                    <a:gd name="connsiteY12" fmla="*/ 1183640 h 1183640"/>
                    <a:gd name="connsiteX13" fmla="*/ 15249 w 1407263"/>
                    <a:gd name="connsiteY13" fmla="*/ 899160 h 1183640"/>
                    <a:gd name="connsiteX14" fmla="*/ 71129 w 1407263"/>
                    <a:gd name="connsiteY14" fmla="*/ 812800 h 1183640"/>
                    <a:gd name="connsiteX15" fmla="*/ 9 w 1407263"/>
                    <a:gd name="connsiteY15" fmla="*/ 736600 h 1183640"/>
                    <a:gd name="connsiteX16" fmla="*/ 81289 w 1407263"/>
                    <a:gd name="connsiteY16" fmla="*/ 624840 h 1183640"/>
                    <a:gd name="connsiteX17" fmla="*/ 10169 w 1407263"/>
                    <a:gd name="connsiteY17" fmla="*/ 548640 h 1183640"/>
                    <a:gd name="connsiteX18" fmla="*/ 76209 w 1407263"/>
                    <a:gd name="connsiteY18" fmla="*/ 462280 h 1183640"/>
                    <a:gd name="connsiteX19" fmla="*/ 5089 w 1407263"/>
                    <a:gd name="connsiteY19" fmla="*/ 370840 h 1183640"/>
                    <a:gd name="connsiteX20" fmla="*/ 81289 w 1407263"/>
                    <a:gd name="connsiteY20" fmla="*/ 274320 h 1183640"/>
                    <a:gd name="connsiteX21" fmla="*/ 15249 w 1407263"/>
                    <a:gd name="connsiteY21" fmla="*/ 218440 h 1183640"/>
                    <a:gd name="connsiteX22" fmla="*/ 5089 w 1407263"/>
                    <a:gd name="connsiteY22" fmla="*/ 5080 h 1183640"/>
                    <a:gd name="connsiteX23" fmla="*/ 1402089 w 1407263"/>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15247 w 1407261"/>
                    <a:gd name="connsiteY21" fmla="*/ 218440 h 1183640"/>
                    <a:gd name="connsiteX22" fmla="*/ 5087 w 1407261"/>
                    <a:gd name="connsiteY22" fmla="*/ 5080 h 1183640"/>
                    <a:gd name="connsiteX23" fmla="*/ 1402087 w 1407261"/>
                    <a:gd name="connsiteY23" fmla="*/ 0 h 1183640"/>
                    <a:gd name="connsiteX0" fmla="*/ 1402087 w 1407261"/>
                    <a:gd name="connsiteY0" fmla="*/ 0 h 1183640"/>
                    <a:gd name="connsiteX1" fmla="*/ 1402087 w 1407261"/>
                    <a:gd name="connsiteY1" fmla="*/ 177800 h 1183640"/>
                    <a:gd name="connsiteX2" fmla="*/ 1325887 w 1407261"/>
                    <a:gd name="connsiteY2" fmla="*/ 238760 h 1183640"/>
                    <a:gd name="connsiteX3" fmla="*/ 1407167 w 1407261"/>
                    <a:gd name="connsiteY3" fmla="*/ 340360 h 1183640"/>
                    <a:gd name="connsiteX4" fmla="*/ 1330967 w 1407261"/>
                    <a:gd name="connsiteY4" fmla="*/ 421640 h 1183640"/>
                    <a:gd name="connsiteX5" fmla="*/ 1402087 w 1407261"/>
                    <a:gd name="connsiteY5" fmla="*/ 518160 h 1183640"/>
                    <a:gd name="connsiteX6" fmla="*/ 1325887 w 1407261"/>
                    <a:gd name="connsiteY6" fmla="*/ 589280 h 1183640"/>
                    <a:gd name="connsiteX7" fmla="*/ 1407167 w 1407261"/>
                    <a:gd name="connsiteY7" fmla="*/ 690880 h 1183640"/>
                    <a:gd name="connsiteX8" fmla="*/ 1325887 w 1407261"/>
                    <a:gd name="connsiteY8" fmla="*/ 772160 h 1183640"/>
                    <a:gd name="connsiteX9" fmla="*/ 1407167 w 1407261"/>
                    <a:gd name="connsiteY9" fmla="*/ 863600 h 1183640"/>
                    <a:gd name="connsiteX10" fmla="*/ 1366527 w 1407261"/>
                    <a:gd name="connsiteY10" fmla="*/ 980440 h 1183640"/>
                    <a:gd name="connsiteX11" fmla="*/ 1036327 w 1407261"/>
                    <a:gd name="connsiteY11" fmla="*/ 1178560 h 1183640"/>
                    <a:gd name="connsiteX12" fmla="*/ 381007 w 1407261"/>
                    <a:gd name="connsiteY12" fmla="*/ 1183640 h 1183640"/>
                    <a:gd name="connsiteX13" fmla="*/ 15247 w 1407261"/>
                    <a:gd name="connsiteY13" fmla="*/ 899160 h 1183640"/>
                    <a:gd name="connsiteX14" fmla="*/ 71127 w 1407261"/>
                    <a:gd name="connsiteY14" fmla="*/ 812800 h 1183640"/>
                    <a:gd name="connsiteX15" fmla="*/ 7 w 1407261"/>
                    <a:gd name="connsiteY15" fmla="*/ 736600 h 1183640"/>
                    <a:gd name="connsiteX16" fmla="*/ 81287 w 1407261"/>
                    <a:gd name="connsiteY16" fmla="*/ 624840 h 1183640"/>
                    <a:gd name="connsiteX17" fmla="*/ 10167 w 1407261"/>
                    <a:gd name="connsiteY17" fmla="*/ 548640 h 1183640"/>
                    <a:gd name="connsiteX18" fmla="*/ 76207 w 1407261"/>
                    <a:gd name="connsiteY18" fmla="*/ 462280 h 1183640"/>
                    <a:gd name="connsiteX19" fmla="*/ 5087 w 1407261"/>
                    <a:gd name="connsiteY19" fmla="*/ 370840 h 1183640"/>
                    <a:gd name="connsiteX20" fmla="*/ 81287 w 1407261"/>
                    <a:gd name="connsiteY20" fmla="*/ 274320 h 1183640"/>
                    <a:gd name="connsiteX21" fmla="*/ 7627 w 1407261"/>
                    <a:gd name="connsiteY21" fmla="*/ 215900 h 1183640"/>
                    <a:gd name="connsiteX22" fmla="*/ 5087 w 1407261"/>
                    <a:gd name="connsiteY22" fmla="*/ 5080 h 1183640"/>
                    <a:gd name="connsiteX23" fmla="*/ 1402087 w 1407261"/>
                    <a:gd name="connsiteY23" fmla="*/ 0 h 118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07261" h="1183640">
                      <a:moveTo>
                        <a:pt x="1402087" y="0"/>
                      </a:moveTo>
                      <a:lnTo>
                        <a:pt x="1402087" y="177800"/>
                      </a:lnTo>
                      <a:cubicBezTo>
                        <a:pt x="1376687" y="198120"/>
                        <a:pt x="1326734" y="209973"/>
                        <a:pt x="1325887" y="238760"/>
                      </a:cubicBezTo>
                      <a:cubicBezTo>
                        <a:pt x="1325040" y="267547"/>
                        <a:pt x="1407167" y="318347"/>
                        <a:pt x="1407167" y="340360"/>
                      </a:cubicBezTo>
                      <a:cubicBezTo>
                        <a:pt x="1407167" y="362373"/>
                        <a:pt x="1319960" y="381847"/>
                        <a:pt x="1330967" y="421640"/>
                      </a:cubicBezTo>
                      <a:cubicBezTo>
                        <a:pt x="1341974" y="461433"/>
                        <a:pt x="1407167" y="494453"/>
                        <a:pt x="1402087" y="518160"/>
                      </a:cubicBezTo>
                      <a:cubicBezTo>
                        <a:pt x="1397007" y="541867"/>
                        <a:pt x="1326734" y="552873"/>
                        <a:pt x="1325887" y="589280"/>
                      </a:cubicBezTo>
                      <a:cubicBezTo>
                        <a:pt x="1325040" y="625687"/>
                        <a:pt x="1403780" y="658707"/>
                        <a:pt x="1407167" y="690880"/>
                      </a:cubicBezTo>
                      <a:cubicBezTo>
                        <a:pt x="1410554" y="723053"/>
                        <a:pt x="1321654" y="736600"/>
                        <a:pt x="1325887" y="772160"/>
                      </a:cubicBezTo>
                      <a:cubicBezTo>
                        <a:pt x="1330120" y="807720"/>
                        <a:pt x="1380074" y="833120"/>
                        <a:pt x="1407167" y="863600"/>
                      </a:cubicBezTo>
                      <a:cubicBezTo>
                        <a:pt x="1393620" y="902547"/>
                        <a:pt x="1390234" y="944880"/>
                        <a:pt x="1366527" y="980440"/>
                      </a:cubicBezTo>
                      <a:cubicBezTo>
                        <a:pt x="1342820" y="1016000"/>
                        <a:pt x="1100674" y="1145540"/>
                        <a:pt x="1036327" y="1178560"/>
                      </a:cubicBezTo>
                      <a:lnTo>
                        <a:pt x="381007" y="1183640"/>
                      </a:lnTo>
                      <a:cubicBezTo>
                        <a:pt x="200667" y="1098973"/>
                        <a:pt x="25407" y="996527"/>
                        <a:pt x="15247" y="899160"/>
                      </a:cubicBezTo>
                      <a:cubicBezTo>
                        <a:pt x="33874" y="870373"/>
                        <a:pt x="75360" y="836507"/>
                        <a:pt x="71127" y="812800"/>
                      </a:cubicBezTo>
                      <a:cubicBezTo>
                        <a:pt x="66894" y="789093"/>
                        <a:pt x="854" y="764540"/>
                        <a:pt x="7" y="736600"/>
                      </a:cubicBezTo>
                      <a:cubicBezTo>
                        <a:pt x="-840" y="708660"/>
                        <a:pt x="79594" y="654473"/>
                        <a:pt x="81287" y="624840"/>
                      </a:cubicBezTo>
                      <a:cubicBezTo>
                        <a:pt x="82980" y="595207"/>
                        <a:pt x="5934" y="581660"/>
                        <a:pt x="10167" y="548640"/>
                      </a:cubicBezTo>
                      <a:cubicBezTo>
                        <a:pt x="14400" y="515620"/>
                        <a:pt x="77054" y="488527"/>
                        <a:pt x="76207" y="462280"/>
                      </a:cubicBezTo>
                      <a:cubicBezTo>
                        <a:pt x="75360" y="436033"/>
                        <a:pt x="854" y="396240"/>
                        <a:pt x="5087" y="370840"/>
                      </a:cubicBezTo>
                      <a:cubicBezTo>
                        <a:pt x="9320" y="345440"/>
                        <a:pt x="80864" y="300143"/>
                        <a:pt x="81287" y="274320"/>
                      </a:cubicBezTo>
                      <a:cubicBezTo>
                        <a:pt x="81710" y="248497"/>
                        <a:pt x="29640" y="234527"/>
                        <a:pt x="7627" y="215900"/>
                      </a:cubicBezTo>
                      <a:cubicBezTo>
                        <a:pt x="6780" y="145627"/>
                        <a:pt x="5934" y="75353"/>
                        <a:pt x="5087" y="5080"/>
                      </a:cubicBezTo>
                      <a:lnTo>
                        <a:pt x="1402087" y="0"/>
                      </a:lnTo>
                      <a:close/>
                    </a:path>
                  </a:pathLst>
                </a:custGeom>
                <a:gradFill flip="none" rotWithShape="1">
                  <a:gsLst>
                    <a:gs pos="0">
                      <a:schemeClr val="bg1">
                        <a:lumMod val="30000"/>
                      </a:schemeClr>
                    </a:gs>
                    <a:gs pos="85000">
                      <a:schemeClr val="bg1">
                        <a:lumMod val="95000"/>
                      </a:schemeClr>
                    </a:gs>
                    <a:gs pos="42000">
                      <a:srgbClr val="B6B6B6">
                        <a:lumMod val="95000"/>
                      </a:srgbClr>
                    </a:gs>
                    <a:gs pos="70000">
                      <a:schemeClr val="bg1">
                        <a:lumMod val="66000"/>
                      </a:schemeClr>
                    </a:gs>
                    <a:gs pos="100000">
                      <a:schemeClr val="bg1">
                        <a:lumMod val="3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80" name="Freeform 279"/>
                <p:cNvSpPr/>
                <p:nvPr/>
              </p:nvSpPr>
              <p:spPr>
                <a:xfrm>
                  <a:off x="4088110" y="5582219"/>
                  <a:ext cx="972621" cy="141683"/>
                </a:xfrm>
                <a:custGeom>
                  <a:avLst/>
                  <a:gdLst/>
                  <a:ahLst/>
                  <a:cxnLst/>
                  <a:rect l="l" t="t" r="r" b="b"/>
                  <a:pathLst>
                    <a:path w="1391920" h="202763">
                      <a:moveTo>
                        <a:pt x="1319213" y="0"/>
                      </a:moveTo>
                      <a:cubicBezTo>
                        <a:pt x="1334296" y="26053"/>
                        <a:pt x="1370352" y="47098"/>
                        <a:pt x="1391920" y="71362"/>
                      </a:cubicBezTo>
                      <a:lnTo>
                        <a:pt x="1381165" y="110247"/>
                      </a:lnTo>
                      <a:lnTo>
                        <a:pt x="58123" y="202763"/>
                      </a:lnTo>
                      <a:cubicBezTo>
                        <a:pt x="24364" y="171244"/>
                        <a:pt x="3328" y="138811"/>
                        <a:pt x="0" y="106922"/>
                      </a:cubicBezTo>
                      <a:lnTo>
                        <a:pt x="11949" y="9141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81" name="Freeform 280"/>
                <p:cNvSpPr/>
                <p:nvPr/>
              </p:nvSpPr>
              <p:spPr>
                <a:xfrm>
                  <a:off x="4077456" y="5459198"/>
                  <a:ext cx="983340" cy="141952"/>
                </a:xfrm>
                <a:custGeom>
                  <a:avLst/>
                  <a:gdLst/>
                  <a:ahLst/>
                  <a:cxnLst/>
                  <a:rect l="l" t="t" r="r" b="b"/>
                  <a:pathLst>
                    <a:path w="1407261" h="203148">
                      <a:moveTo>
                        <a:pt x="1336797" y="0"/>
                      </a:moveTo>
                      <a:cubicBezTo>
                        <a:pt x="1357661" y="27201"/>
                        <a:pt x="1404570" y="52371"/>
                        <a:pt x="1407167" y="77042"/>
                      </a:cubicBezTo>
                      <a:cubicBezTo>
                        <a:pt x="1408668" y="91297"/>
                        <a:pt x="1392052" y="101895"/>
                        <a:pt x="1373255" y="112030"/>
                      </a:cubicBezTo>
                      <a:lnTo>
                        <a:pt x="70196" y="203148"/>
                      </a:lnTo>
                      <a:cubicBezTo>
                        <a:pt x="71464" y="201748"/>
                        <a:pt x="71373" y="200338"/>
                        <a:pt x="71127" y="198962"/>
                      </a:cubicBezTo>
                      <a:cubicBezTo>
                        <a:pt x="66894" y="175255"/>
                        <a:pt x="854" y="150702"/>
                        <a:pt x="7" y="122762"/>
                      </a:cubicBezTo>
                      <a:cubicBezTo>
                        <a:pt x="-246" y="114413"/>
                        <a:pt x="6760" y="103719"/>
                        <a:pt x="17044" y="92286"/>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82" name="Freeform 281"/>
                <p:cNvSpPr/>
                <p:nvPr/>
              </p:nvSpPr>
              <p:spPr>
                <a:xfrm>
                  <a:off x="4084442" y="5334842"/>
                  <a:ext cx="972935" cy="141885"/>
                </a:xfrm>
                <a:custGeom>
                  <a:avLst/>
                  <a:gdLst/>
                  <a:ahLst/>
                  <a:cxnLst/>
                  <a:rect l="l" t="t" r="r" b="b"/>
                  <a:pathLst>
                    <a:path w="1392370" h="203052">
                      <a:moveTo>
                        <a:pt x="1329184" y="0"/>
                      </a:moveTo>
                      <a:cubicBezTo>
                        <a:pt x="1347693" y="33963"/>
                        <a:pt x="1396511" y="61654"/>
                        <a:pt x="1392089" y="82288"/>
                      </a:cubicBezTo>
                      <a:cubicBezTo>
                        <a:pt x="1389561" y="94086"/>
                        <a:pt x="1370889" y="102738"/>
                        <a:pt x="1352660" y="112938"/>
                      </a:cubicBezTo>
                      <a:lnTo>
                        <a:pt x="63968" y="203052"/>
                      </a:lnTo>
                      <a:cubicBezTo>
                        <a:pt x="68944" y="198570"/>
                        <a:pt x="71031" y="193484"/>
                        <a:pt x="71289" y="188968"/>
                      </a:cubicBezTo>
                      <a:cubicBezTo>
                        <a:pt x="72982" y="159335"/>
                        <a:pt x="-4064" y="145788"/>
                        <a:pt x="169" y="112768"/>
                      </a:cubicBezTo>
                      <a:lnTo>
                        <a:pt x="10766" y="92193"/>
                      </a:ln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83" name="Freeform 282"/>
                <p:cNvSpPr/>
                <p:nvPr/>
              </p:nvSpPr>
              <p:spPr>
                <a:xfrm>
                  <a:off x="4080889" y="5208287"/>
                  <a:ext cx="979841" cy="141561"/>
                </a:xfrm>
                <a:custGeom>
                  <a:avLst/>
                  <a:gdLst/>
                  <a:ahLst/>
                  <a:cxnLst/>
                  <a:rect l="l" t="t" r="r" b="b"/>
                  <a:pathLst>
                    <a:path w="1402254" h="202589">
                      <a:moveTo>
                        <a:pt x="1327165" y="0"/>
                      </a:moveTo>
                      <a:cubicBezTo>
                        <a:pt x="1345502" y="29113"/>
                        <a:pt x="1402254" y="67305"/>
                        <a:pt x="1402254" y="85604"/>
                      </a:cubicBezTo>
                      <a:cubicBezTo>
                        <a:pt x="1402254" y="94165"/>
                        <a:pt x="1389065" y="102342"/>
                        <a:pt x="1373510" y="111338"/>
                      </a:cubicBezTo>
                      <a:lnTo>
                        <a:pt x="68561" y="202589"/>
                      </a:lnTo>
                      <a:cubicBezTo>
                        <a:pt x="60713" y="175951"/>
                        <a:pt x="-3772" y="139763"/>
                        <a:pt x="174" y="116084"/>
                      </a:cubicBezTo>
                      <a:cubicBezTo>
                        <a:pt x="1332" y="109136"/>
                        <a:pt x="7527" y="100699"/>
                        <a:pt x="16039" y="91683"/>
                      </a:cubicBezTo>
                      <a:close/>
                    </a:path>
                  </a:pathLst>
                </a:custGeom>
                <a:gradFill flip="none" rotWithShape="1">
                  <a:gsLst>
                    <a:gs pos="0">
                      <a:schemeClr val="bg1">
                        <a:lumMod val="99000"/>
                      </a:schemeClr>
                    </a:gs>
                    <a:gs pos="71000">
                      <a:schemeClr val="bg1">
                        <a:lumMod val="92000"/>
                      </a:schemeClr>
                    </a:gs>
                    <a:gs pos="45000">
                      <a:srgbClr val="D6D6D6">
                        <a:lumMod val="95000"/>
                      </a:srgbClr>
                    </a:gs>
                    <a:gs pos="26000">
                      <a:schemeClr val="bg1">
                        <a:lumMod val="66000"/>
                      </a:schemeClr>
                    </a:gs>
                    <a:gs pos="100000">
                      <a:schemeClr val="bg1">
                        <a:lumMod val="85000"/>
                      </a:schemeClr>
                    </a:gs>
                  </a:gsLst>
                  <a:lin ang="0" scaled="1"/>
                  <a:tileRect/>
                </a:gra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sp>
              <p:nvSpPr>
                <p:cNvPr id="284" name="Freeform 283"/>
                <p:cNvSpPr/>
                <p:nvPr/>
              </p:nvSpPr>
              <p:spPr>
                <a:xfrm>
                  <a:off x="4336590" y="5852030"/>
                  <a:ext cx="470337" cy="95190"/>
                </a:xfrm>
                <a:custGeom>
                  <a:avLst/>
                  <a:gdLst>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000"/>
                    <a:gd name="connsiteX1" fmla="*/ 241300 w 673100"/>
                    <a:gd name="connsiteY1" fmla="*/ 121920 h 127000"/>
                    <a:gd name="connsiteX2" fmla="*/ 434340 w 673100"/>
                    <a:gd name="connsiteY2" fmla="*/ 127000 h 127000"/>
                    <a:gd name="connsiteX3" fmla="*/ 673100 w 673100"/>
                    <a:gd name="connsiteY3" fmla="*/ 0 h 127000"/>
                    <a:gd name="connsiteX4" fmla="*/ 0 w 673100"/>
                    <a:gd name="connsiteY4" fmla="*/ 5080 h 127000"/>
                    <a:gd name="connsiteX0" fmla="*/ 0 w 673100"/>
                    <a:gd name="connsiteY0" fmla="*/ 5080 h 127325"/>
                    <a:gd name="connsiteX1" fmla="*/ 241300 w 673100"/>
                    <a:gd name="connsiteY1" fmla="*/ 121920 h 127325"/>
                    <a:gd name="connsiteX2" fmla="*/ 434340 w 673100"/>
                    <a:gd name="connsiteY2" fmla="*/ 127000 h 127325"/>
                    <a:gd name="connsiteX3" fmla="*/ 673100 w 673100"/>
                    <a:gd name="connsiteY3" fmla="*/ 0 h 127325"/>
                    <a:gd name="connsiteX4" fmla="*/ 0 w 673100"/>
                    <a:gd name="connsiteY4" fmla="*/ 5080 h 127325"/>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2967"/>
                    <a:gd name="connsiteX1" fmla="*/ 241300 w 673100"/>
                    <a:gd name="connsiteY1" fmla="*/ 121920 h 132967"/>
                    <a:gd name="connsiteX2" fmla="*/ 434340 w 673100"/>
                    <a:gd name="connsiteY2" fmla="*/ 127000 h 132967"/>
                    <a:gd name="connsiteX3" fmla="*/ 673100 w 673100"/>
                    <a:gd name="connsiteY3" fmla="*/ 0 h 132967"/>
                    <a:gd name="connsiteX4" fmla="*/ 0 w 673100"/>
                    <a:gd name="connsiteY4" fmla="*/ 5080 h 132967"/>
                    <a:gd name="connsiteX0" fmla="*/ 0 w 673100"/>
                    <a:gd name="connsiteY0" fmla="*/ 5080 h 134622"/>
                    <a:gd name="connsiteX1" fmla="*/ 241300 w 673100"/>
                    <a:gd name="connsiteY1" fmla="*/ 121920 h 134622"/>
                    <a:gd name="connsiteX2" fmla="*/ 434340 w 673100"/>
                    <a:gd name="connsiteY2" fmla="*/ 127000 h 134622"/>
                    <a:gd name="connsiteX3" fmla="*/ 673100 w 673100"/>
                    <a:gd name="connsiteY3" fmla="*/ 0 h 134622"/>
                    <a:gd name="connsiteX4" fmla="*/ 0 w 673100"/>
                    <a:gd name="connsiteY4" fmla="*/ 5080 h 134622"/>
                    <a:gd name="connsiteX0" fmla="*/ 0 w 673100"/>
                    <a:gd name="connsiteY0" fmla="*/ 5080 h 136227"/>
                    <a:gd name="connsiteX1" fmla="*/ 241300 w 673100"/>
                    <a:gd name="connsiteY1" fmla="*/ 121920 h 136227"/>
                    <a:gd name="connsiteX2" fmla="*/ 434340 w 673100"/>
                    <a:gd name="connsiteY2" fmla="*/ 127000 h 136227"/>
                    <a:gd name="connsiteX3" fmla="*/ 673100 w 673100"/>
                    <a:gd name="connsiteY3" fmla="*/ 0 h 136227"/>
                    <a:gd name="connsiteX4" fmla="*/ 0 w 673100"/>
                    <a:gd name="connsiteY4" fmla="*/ 5080 h 136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00" h="136227">
                      <a:moveTo>
                        <a:pt x="0" y="5080"/>
                      </a:moveTo>
                      <a:cubicBezTo>
                        <a:pt x="423" y="32597"/>
                        <a:pt x="226483" y="106892"/>
                        <a:pt x="241300" y="121920"/>
                      </a:cubicBezTo>
                      <a:cubicBezTo>
                        <a:pt x="256117" y="136948"/>
                        <a:pt x="421428" y="142452"/>
                        <a:pt x="434340" y="127000"/>
                      </a:cubicBezTo>
                      <a:cubicBezTo>
                        <a:pt x="447252" y="111548"/>
                        <a:pt x="671618" y="23283"/>
                        <a:pt x="673100" y="0"/>
                      </a:cubicBezTo>
                      <a:lnTo>
                        <a:pt x="0" y="508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278" name="Oval 277"/>
              <p:cNvSpPr/>
              <p:nvPr/>
            </p:nvSpPr>
            <p:spPr>
              <a:xfrm rot="19080000" flipH="1">
                <a:off x="3521505" y="2435407"/>
                <a:ext cx="890063" cy="265634"/>
              </a:xfrm>
              <a:prstGeom prst="ellipse">
                <a:avLst/>
              </a:prstGeom>
              <a:gradFill flip="none" rotWithShape="1">
                <a:gsLst>
                  <a:gs pos="28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endParaRPr lang="en-US" sz="1800" dirty="0">
                  <a:solidFill>
                    <a:prstClr val="white"/>
                  </a:solidFill>
                  <a:latin typeface="Arial" panose="020B0604020202020204" pitchFamily="34" charset="0"/>
                  <a:cs typeface="Arial" panose="020B0604020202020204" pitchFamily="34" charset="0"/>
                </a:endParaRPr>
              </a:p>
            </p:txBody>
          </p:sp>
        </p:grpSp>
        <p:sp>
          <p:nvSpPr>
            <p:cNvPr id="274" name="Oval 273"/>
            <p:cNvSpPr/>
            <p:nvPr/>
          </p:nvSpPr>
          <p:spPr>
            <a:xfrm>
              <a:off x="6247117" y="2512770"/>
              <a:ext cx="1162056" cy="1079812"/>
            </a:xfrm>
            <a:prstGeom prst="ellipse">
              <a:avLst/>
            </a:prstGeom>
            <a:gradFill flip="none" rotWithShape="1">
              <a:gsLst>
                <a:gs pos="32000">
                  <a:srgbClr val="00B0F0"/>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ysClr val="window" lastClr="FFFFFF"/>
                </a:solidFill>
                <a:latin typeface="Arial" panose="020B0604020202020204" pitchFamily="34" charset="0"/>
                <a:cs typeface="Arial" panose="020B0604020202020204" pitchFamily="34" charset="0"/>
              </a:endParaRPr>
            </a:p>
          </p:txBody>
        </p:sp>
      </p:grpSp>
      <p:grpSp>
        <p:nvGrpSpPr>
          <p:cNvPr id="294" name="Group 293"/>
          <p:cNvGrpSpPr/>
          <p:nvPr userDrawn="1"/>
        </p:nvGrpSpPr>
        <p:grpSpPr>
          <a:xfrm>
            <a:off x="5524044" y="3083042"/>
            <a:ext cx="3618766" cy="1028700"/>
            <a:chOff x="6246812" y="3581400"/>
            <a:chExt cx="5940424" cy="1419243"/>
          </a:xfrm>
        </p:grpSpPr>
        <p:sp>
          <p:nvSpPr>
            <p:cNvPr id="295" name="Freeform 5"/>
            <p:cNvSpPr>
              <a:spLocks/>
            </p:cNvSpPr>
            <p:nvPr/>
          </p:nvSpPr>
          <p:spPr bwMode="auto">
            <a:xfrm>
              <a:off x="6311157" y="3999039"/>
              <a:ext cx="1643845" cy="780645"/>
            </a:xfrm>
            <a:custGeom>
              <a:avLst/>
              <a:gdLst>
                <a:gd name="T0" fmla="*/ 32 w 718"/>
                <a:gd name="T1" fmla="*/ 80 h 340"/>
                <a:gd name="T2" fmla="*/ 0 w 718"/>
                <a:gd name="T3" fmla="*/ 115 h 340"/>
                <a:gd name="T4" fmla="*/ 637 w 718"/>
                <a:gd name="T5" fmla="*/ 340 h 340"/>
                <a:gd name="T6" fmla="*/ 718 w 718"/>
                <a:gd name="T7" fmla="*/ 246 h 340"/>
                <a:gd name="T8" fmla="*/ 32 w 718"/>
                <a:gd name="T9" fmla="*/ 80 h 340"/>
              </a:gdLst>
              <a:ahLst/>
              <a:cxnLst>
                <a:cxn ang="0">
                  <a:pos x="T0" y="T1"/>
                </a:cxn>
                <a:cxn ang="0">
                  <a:pos x="T2" y="T3"/>
                </a:cxn>
                <a:cxn ang="0">
                  <a:pos x="T4" y="T5"/>
                </a:cxn>
                <a:cxn ang="0">
                  <a:pos x="T6" y="T7"/>
                </a:cxn>
                <a:cxn ang="0">
                  <a:pos x="T8" y="T9"/>
                </a:cxn>
              </a:cxnLst>
              <a:rect l="0" t="0" r="r" b="b"/>
              <a:pathLst>
                <a:path w="718" h="340">
                  <a:moveTo>
                    <a:pt x="32" y="80"/>
                  </a:moveTo>
                  <a:cubicBezTo>
                    <a:pt x="0" y="115"/>
                    <a:pt x="0" y="115"/>
                    <a:pt x="0" y="115"/>
                  </a:cubicBezTo>
                  <a:cubicBezTo>
                    <a:pt x="637" y="340"/>
                    <a:pt x="637" y="340"/>
                    <a:pt x="637" y="340"/>
                  </a:cubicBezTo>
                  <a:cubicBezTo>
                    <a:pt x="718" y="246"/>
                    <a:pt x="718" y="246"/>
                    <a:pt x="718" y="246"/>
                  </a:cubicBezTo>
                  <a:cubicBezTo>
                    <a:pt x="718" y="246"/>
                    <a:pt x="167" y="0"/>
                    <a:pt x="32" y="80"/>
                  </a:cubicBezTo>
                  <a:close/>
                </a:path>
              </a:pathLst>
            </a:custGeom>
            <a:solidFill>
              <a:schemeClr val="accent4"/>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96" name="Freeform 6"/>
            <p:cNvSpPr>
              <a:spLocks/>
            </p:cNvSpPr>
            <p:nvPr/>
          </p:nvSpPr>
          <p:spPr bwMode="auto">
            <a:xfrm>
              <a:off x="6246812" y="3965045"/>
              <a:ext cx="1636561" cy="773360"/>
            </a:xfrm>
            <a:custGeom>
              <a:avLst/>
              <a:gdLst>
                <a:gd name="T0" fmla="*/ 35 w 715"/>
                <a:gd name="T1" fmla="*/ 59 h 337"/>
                <a:gd name="T2" fmla="*/ 0 w 715"/>
                <a:gd name="T3" fmla="*/ 86 h 337"/>
                <a:gd name="T4" fmla="*/ 632 w 715"/>
                <a:gd name="T5" fmla="*/ 337 h 337"/>
                <a:gd name="T6" fmla="*/ 715 w 715"/>
                <a:gd name="T7" fmla="*/ 245 h 337"/>
                <a:gd name="T8" fmla="*/ 35 w 715"/>
                <a:gd name="T9" fmla="*/ 59 h 337"/>
              </a:gdLst>
              <a:ahLst/>
              <a:cxnLst>
                <a:cxn ang="0">
                  <a:pos x="T0" y="T1"/>
                </a:cxn>
                <a:cxn ang="0">
                  <a:pos x="T2" y="T3"/>
                </a:cxn>
                <a:cxn ang="0">
                  <a:pos x="T4" y="T5"/>
                </a:cxn>
                <a:cxn ang="0">
                  <a:pos x="T6" y="T7"/>
                </a:cxn>
                <a:cxn ang="0">
                  <a:pos x="T8" y="T9"/>
                </a:cxn>
              </a:cxnLst>
              <a:rect l="0" t="0" r="r" b="b"/>
              <a:pathLst>
                <a:path w="715" h="337">
                  <a:moveTo>
                    <a:pt x="35" y="59"/>
                  </a:moveTo>
                  <a:cubicBezTo>
                    <a:pt x="0" y="86"/>
                    <a:pt x="0" y="86"/>
                    <a:pt x="0" y="86"/>
                  </a:cubicBezTo>
                  <a:cubicBezTo>
                    <a:pt x="632" y="337"/>
                    <a:pt x="632" y="337"/>
                    <a:pt x="632" y="337"/>
                  </a:cubicBezTo>
                  <a:cubicBezTo>
                    <a:pt x="715" y="245"/>
                    <a:pt x="715" y="245"/>
                    <a:pt x="715" y="245"/>
                  </a:cubicBezTo>
                  <a:cubicBezTo>
                    <a:pt x="715" y="245"/>
                    <a:pt x="143" y="0"/>
                    <a:pt x="35" y="59"/>
                  </a:cubicBezTo>
                  <a:close/>
                </a:path>
              </a:pathLst>
            </a:custGeom>
            <a:solidFill>
              <a:schemeClr val="accent4">
                <a:lumMod val="60000"/>
                <a:lumOff val="40000"/>
              </a:schemeClr>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97" name="Freeform 7"/>
            <p:cNvSpPr>
              <a:spLocks/>
            </p:cNvSpPr>
            <p:nvPr/>
          </p:nvSpPr>
          <p:spPr bwMode="auto">
            <a:xfrm>
              <a:off x="6354863" y="3656672"/>
              <a:ext cx="4141178" cy="1284481"/>
            </a:xfrm>
            <a:custGeom>
              <a:avLst/>
              <a:gdLst>
                <a:gd name="T0" fmla="*/ 1763 w 1809"/>
                <a:gd name="T1" fmla="*/ 147 h 559"/>
                <a:gd name="T2" fmla="*/ 1261 w 1809"/>
                <a:gd name="T3" fmla="*/ 110 h 559"/>
                <a:gd name="T4" fmla="*/ 780 w 1809"/>
                <a:gd name="T5" fmla="*/ 195 h 559"/>
                <a:gd name="T6" fmla="*/ 607 w 1809"/>
                <a:gd name="T7" fmla="*/ 216 h 559"/>
                <a:gd name="T8" fmla="*/ 371 w 1809"/>
                <a:gd name="T9" fmla="*/ 243 h 559"/>
                <a:gd name="T10" fmla="*/ 0 w 1809"/>
                <a:gd name="T11" fmla="*/ 199 h 559"/>
                <a:gd name="T12" fmla="*/ 550 w 1809"/>
                <a:gd name="T13" fmla="*/ 470 h 559"/>
                <a:gd name="T14" fmla="*/ 687 w 1809"/>
                <a:gd name="T15" fmla="*/ 546 h 559"/>
                <a:gd name="T16" fmla="*/ 1310 w 1809"/>
                <a:gd name="T17" fmla="*/ 403 h 559"/>
                <a:gd name="T18" fmla="*/ 1809 w 1809"/>
                <a:gd name="T19" fmla="*/ 445 h 559"/>
                <a:gd name="T20" fmla="*/ 1763 w 1809"/>
                <a:gd name="T21" fmla="*/ 147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9" h="559">
                  <a:moveTo>
                    <a:pt x="1763" y="147"/>
                  </a:moveTo>
                  <a:cubicBezTo>
                    <a:pt x="1763" y="147"/>
                    <a:pt x="1326" y="119"/>
                    <a:pt x="1261" y="110"/>
                  </a:cubicBezTo>
                  <a:cubicBezTo>
                    <a:pt x="1196" y="102"/>
                    <a:pt x="966" y="0"/>
                    <a:pt x="780" y="195"/>
                  </a:cubicBezTo>
                  <a:cubicBezTo>
                    <a:pt x="607" y="216"/>
                    <a:pt x="607" y="216"/>
                    <a:pt x="607" y="216"/>
                  </a:cubicBezTo>
                  <a:cubicBezTo>
                    <a:pt x="607" y="216"/>
                    <a:pt x="422" y="162"/>
                    <a:pt x="371" y="243"/>
                  </a:cubicBezTo>
                  <a:cubicBezTo>
                    <a:pt x="371" y="243"/>
                    <a:pt x="95" y="109"/>
                    <a:pt x="0" y="199"/>
                  </a:cubicBezTo>
                  <a:cubicBezTo>
                    <a:pt x="0" y="199"/>
                    <a:pt x="494" y="419"/>
                    <a:pt x="550" y="470"/>
                  </a:cubicBezTo>
                  <a:cubicBezTo>
                    <a:pt x="550" y="470"/>
                    <a:pt x="641" y="559"/>
                    <a:pt x="687" y="546"/>
                  </a:cubicBezTo>
                  <a:cubicBezTo>
                    <a:pt x="732" y="533"/>
                    <a:pt x="1141" y="404"/>
                    <a:pt x="1310" y="403"/>
                  </a:cubicBezTo>
                  <a:cubicBezTo>
                    <a:pt x="1809" y="445"/>
                    <a:pt x="1809" y="445"/>
                    <a:pt x="1809" y="445"/>
                  </a:cubicBezTo>
                  <a:cubicBezTo>
                    <a:pt x="1763" y="147"/>
                    <a:pt x="1763" y="147"/>
                    <a:pt x="1763" y="147"/>
                  </a:cubicBezTo>
                </a:path>
              </a:pathLst>
            </a:custGeom>
            <a:solidFill>
              <a:schemeClr val="accent4"/>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98" name="Freeform 8"/>
            <p:cNvSpPr>
              <a:spLocks/>
            </p:cNvSpPr>
            <p:nvPr/>
          </p:nvSpPr>
          <p:spPr bwMode="auto">
            <a:xfrm>
              <a:off x="7063878" y="4215142"/>
              <a:ext cx="1390105" cy="365434"/>
            </a:xfrm>
            <a:custGeom>
              <a:avLst/>
              <a:gdLst>
                <a:gd name="T0" fmla="*/ 61 w 607"/>
                <a:gd name="T1" fmla="*/ 0 h 159"/>
                <a:gd name="T2" fmla="*/ 479 w 607"/>
                <a:gd name="T3" fmla="*/ 106 h 159"/>
                <a:gd name="T4" fmla="*/ 607 w 607"/>
                <a:gd name="T5" fmla="*/ 68 h 159"/>
                <a:gd name="T6" fmla="*/ 488 w 607"/>
                <a:gd name="T7" fmla="*/ 126 h 159"/>
                <a:gd name="T8" fmla="*/ 61 w 607"/>
                <a:gd name="T9" fmla="*/ 0 h 159"/>
              </a:gdLst>
              <a:ahLst/>
              <a:cxnLst>
                <a:cxn ang="0">
                  <a:pos x="T0" y="T1"/>
                </a:cxn>
                <a:cxn ang="0">
                  <a:pos x="T2" y="T3"/>
                </a:cxn>
                <a:cxn ang="0">
                  <a:pos x="T4" y="T5"/>
                </a:cxn>
                <a:cxn ang="0">
                  <a:pos x="T6" y="T7"/>
                </a:cxn>
                <a:cxn ang="0">
                  <a:pos x="T8" y="T9"/>
                </a:cxn>
              </a:cxnLst>
              <a:rect l="0" t="0" r="r" b="b"/>
              <a:pathLst>
                <a:path w="607" h="159">
                  <a:moveTo>
                    <a:pt x="61" y="0"/>
                  </a:moveTo>
                  <a:cubicBezTo>
                    <a:pt x="61" y="0"/>
                    <a:pt x="0" y="125"/>
                    <a:pt x="479" y="106"/>
                  </a:cubicBezTo>
                  <a:cubicBezTo>
                    <a:pt x="607" y="68"/>
                    <a:pt x="607" y="68"/>
                    <a:pt x="607" y="68"/>
                  </a:cubicBezTo>
                  <a:cubicBezTo>
                    <a:pt x="488" y="126"/>
                    <a:pt x="488" y="126"/>
                    <a:pt x="488" y="126"/>
                  </a:cubicBezTo>
                  <a:cubicBezTo>
                    <a:pt x="488" y="126"/>
                    <a:pt x="4" y="159"/>
                    <a:pt x="61" y="0"/>
                  </a:cubicBezTo>
                  <a:close/>
                </a:path>
              </a:pathLst>
            </a:custGeom>
            <a:solidFill>
              <a:schemeClr val="accent4">
                <a:lumMod val="60000"/>
                <a:lumOff val="40000"/>
              </a:schemeClr>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299" name="Freeform 9"/>
            <p:cNvSpPr>
              <a:spLocks/>
            </p:cNvSpPr>
            <p:nvPr/>
          </p:nvSpPr>
          <p:spPr bwMode="auto">
            <a:xfrm>
              <a:off x="7239918" y="4145941"/>
              <a:ext cx="279235" cy="228244"/>
            </a:xfrm>
            <a:custGeom>
              <a:avLst/>
              <a:gdLst>
                <a:gd name="T0" fmla="*/ 111 w 122"/>
                <a:gd name="T1" fmla="*/ 31 h 99"/>
                <a:gd name="T2" fmla="*/ 92 w 122"/>
                <a:gd name="T3" fmla="*/ 99 h 99"/>
                <a:gd name="T4" fmla="*/ 3 w 122"/>
                <a:gd name="T5" fmla="*/ 56 h 99"/>
                <a:gd name="T6" fmla="*/ 111 w 122"/>
                <a:gd name="T7" fmla="*/ 31 h 99"/>
              </a:gdLst>
              <a:ahLst/>
              <a:cxnLst>
                <a:cxn ang="0">
                  <a:pos x="T0" y="T1"/>
                </a:cxn>
                <a:cxn ang="0">
                  <a:pos x="T2" y="T3"/>
                </a:cxn>
                <a:cxn ang="0">
                  <a:pos x="T4" y="T5"/>
                </a:cxn>
                <a:cxn ang="0">
                  <a:pos x="T6" y="T7"/>
                </a:cxn>
              </a:cxnLst>
              <a:rect l="0" t="0" r="r" b="b"/>
              <a:pathLst>
                <a:path w="122" h="99">
                  <a:moveTo>
                    <a:pt x="111" y="31"/>
                  </a:moveTo>
                  <a:cubicBezTo>
                    <a:pt x="111" y="31"/>
                    <a:pt x="122" y="74"/>
                    <a:pt x="92" y="99"/>
                  </a:cubicBezTo>
                  <a:cubicBezTo>
                    <a:pt x="92" y="99"/>
                    <a:pt x="0" y="92"/>
                    <a:pt x="3" y="56"/>
                  </a:cubicBezTo>
                  <a:cubicBezTo>
                    <a:pt x="6" y="0"/>
                    <a:pt x="111" y="31"/>
                    <a:pt x="111" y="31"/>
                  </a:cubicBezTo>
                  <a:close/>
                </a:path>
              </a:pathLst>
            </a:custGeom>
            <a:solidFill>
              <a:schemeClr val="accent4">
                <a:lumMod val="20000"/>
                <a:lumOff val="80000"/>
              </a:schemeClr>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00" name="Freeform 10"/>
            <p:cNvSpPr>
              <a:spLocks/>
            </p:cNvSpPr>
            <p:nvPr/>
          </p:nvSpPr>
          <p:spPr bwMode="auto">
            <a:xfrm>
              <a:off x="9403383" y="3723446"/>
              <a:ext cx="1682695" cy="1102372"/>
            </a:xfrm>
            <a:custGeom>
              <a:avLst/>
              <a:gdLst>
                <a:gd name="T0" fmla="*/ 0 w 1386"/>
                <a:gd name="T1" fmla="*/ 99 h 908"/>
                <a:gd name="T2" fmla="*/ 40 w 1386"/>
                <a:gd name="T3" fmla="*/ 865 h 908"/>
                <a:gd name="T4" fmla="*/ 1386 w 1386"/>
                <a:gd name="T5" fmla="*/ 908 h 908"/>
                <a:gd name="T6" fmla="*/ 1365 w 1386"/>
                <a:gd name="T7" fmla="*/ 0 h 908"/>
                <a:gd name="T8" fmla="*/ 0 w 1386"/>
                <a:gd name="T9" fmla="*/ 99 h 908"/>
              </a:gdLst>
              <a:ahLst/>
              <a:cxnLst>
                <a:cxn ang="0">
                  <a:pos x="T0" y="T1"/>
                </a:cxn>
                <a:cxn ang="0">
                  <a:pos x="T2" y="T3"/>
                </a:cxn>
                <a:cxn ang="0">
                  <a:pos x="T4" y="T5"/>
                </a:cxn>
                <a:cxn ang="0">
                  <a:pos x="T6" y="T7"/>
                </a:cxn>
                <a:cxn ang="0">
                  <a:pos x="T8" y="T9"/>
                </a:cxn>
              </a:cxnLst>
              <a:rect l="0" t="0" r="r" b="b"/>
              <a:pathLst>
                <a:path w="1386" h="908">
                  <a:moveTo>
                    <a:pt x="0" y="99"/>
                  </a:moveTo>
                  <a:lnTo>
                    <a:pt x="40" y="865"/>
                  </a:lnTo>
                  <a:lnTo>
                    <a:pt x="1386" y="908"/>
                  </a:lnTo>
                  <a:lnTo>
                    <a:pt x="1365" y="0"/>
                  </a:lnTo>
                  <a:lnTo>
                    <a:pt x="0" y="99"/>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01" name="Freeform 11"/>
            <p:cNvSpPr>
              <a:spLocks/>
            </p:cNvSpPr>
            <p:nvPr/>
          </p:nvSpPr>
          <p:spPr bwMode="auto">
            <a:xfrm>
              <a:off x="9403383" y="3723446"/>
              <a:ext cx="1682695" cy="1102372"/>
            </a:xfrm>
            <a:custGeom>
              <a:avLst/>
              <a:gdLst>
                <a:gd name="T0" fmla="*/ 0 w 1386"/>
                <a:gd name="T1" fmla="*/ 99 h 908"/>
                <a:gd name="T2" fmla="*/ 40 w 1386"/>
                <a:gd name="T3" fmla="*/ 865 h 908"/>
                <a:gd name="T4" fmla="*/ 1386 w 1386"/>
                <a:gd name="T5" fmla="*/ 908 h 908"/>
                <a:gd name="T6" fmla="*/ 1365 w 1386"/>
                <a:gd name="T7" fmla="*/ 0 h 908"/>
                <a:gd name="T8" fmla="*/ 0 w 1386"/>
                <a:gd name="T9" fmla="*/ 99 h 908"/>
              </a:gdLst>
              <a:ahLst/>
              <a:cxnLst>
                <a:cxn ang="0">
                  <a:pos x="T0" y="T1"/>
                </a:cxn>
                <a:cxn ang="0">
                  <a:pos x="T2" y="T3"/>
                </a:cxn>
                <a:cxn ang="0">
                  <a:pos x="T4" y="T5"/>
                </a:cxn>
                <a:cxn ang="0">
                  <a:pos x="T6" y="T7"/>
                </a:cxn>
                <a:cxn ang="0">
                  <a:pos x="T8" y="T9"/>
                </a:cxn>
              </a:cxnLst>
              <a:rect l="0" t="0" r="r" b="b"/>
              <a:pathLst>
                <a:path w="1386" h="908">
                  <a:moveTo>
                    <a:pt x="0" y="99"/>
                  </a:moveTo>
                  <a:lnTo>
                    <a:pt x="40" y="865"/>
                  </a:lnTo>
                  <a:lnTo>
                    <a:pt x="1386" y="908"/>
                  </a:lnTo>
                  <a:lnTo>
                    <a:pt x="1365" y="0"/>
                  </a:lnTo>
                  <a:lnTo>
                    <a:pt x="0" y="99"/>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02" name="Freeform 12"/>
            <p:cNvSpPr>
              <a:spLocks/>
            </p:cNvSpPr>
            <p:nvPr/>
          </p:nvSpPr>
          <p:spPr bwMode="auto">
            <a:xfrm>
              <a:off x="9568496" y="3581400"/>
              <a:ext cx="2618740" cy="1419243"/>
            </a:xfrm>
            <a:custGeom>
              <a:avLst/>
              <a:gdLst>
                <a:gd name="T0" fmla="*/ 7 w 2157"/>
                <a:gd name="T1" fmla="*/ 125 h 1169"/>
                <a:gd name="T2" fmla="*/ 0 w 2157"/>
                <a:gd name="T3" fmla="*/ 1093 h 1169"/>
                <a:gd name="T4" fmla="*/ 2157 w 2157"/>
                <a:gd name="T5" fmla="*/ 1169 h 1169"/>
                <a:gd name="T6" fmla="*/ 2138 w 2157"/>
                <a:gd name="T7" fmla="*/ 0 h 1169"/>
                <a:gd name="T8" fmla="*/ 7 w 2157"/>
                <a:gd name="T9" fmla="*/ 125 h 1169"/>
                <a:gd name="connsiteX0" fmla="*/ 32 w 10000"/>
                <a:gd name="connsiteY0" fmla="*/ 1069 h 10000"/>
                <a:gd name="connsiteX1" fmla="*/ 0 w 10000"/>
                <a:gd name="connsiteY1" fmla="*/ 9350 h 10000"/>
                <a:gd name="connsiteX2" fmla="*/ 10000 w 10000"/>
                <a:gd name="connsiteY2" fmla="*/ 10000 h 10000"/>
                <a:gd name="connsiteX3" fmla="*/ 9985 w 10000"/>
                <a:gd name="connsiteY3" fmla="*/ 0 h 10000"/>
                <a:gd name="connsiteX4" fmla="*/ 32 w 10000"/>
                <a:gd name="connsiteY4" fmla="*/ 1069 h 10000"/>
                <a:gd name="connsiteX0" fmla="*/ 32 w 10000"/>
                <a:gd name="connsiteY0" fmla="*/ 1069 h 10000"/>
                <a:gd name="connsiteX1" fmla="*/ 0 w 10000"/>
                <a:gd name="connsiteY1" fmla="*/ 9350 h 10000"/>
                <a:gd name="connsiteX2" fmla="*/ 10000 w 10000"/>
                <a:gd name="connsiteY2" fmla="*/ 10000 h 10000"/>
                <a:gd name="connsiteX3" fmla="*/ 9997 w 10000"/>
                <a:gd name="connsiteY3" fmla="*/ 0 h 10000"/>
                <a:gd name="connsiteX4" fmla="*/ 32 w 10000"/>
                <a:gd name="connsiteY4" fmla="*/ 1069 h 10000"/>
                <a:gd name="connsiteX0" fmla="*/ 32 w 10000"/>
                <a:gd name="connsiteY0" fmla="*/ 1069 h 10000"/>
                <a:gd name="connsiteX1" fmla="*/ 0 w 10000"/>
                <a:gd name="connsiteY1" fmla="*/ 9350 h 10000"/>
                <a:gd name="connsiteX2" fmla="*/ 10000 w 10000"/>
                <a:gd name="connsiteY2" fmla="*/ 10000 h 10000"/>
                <a:gd name="connsiteX3" fmla="*/ 9997 w 10000"/>
                <a:gd name="connsiteY3" fmla="*/ 0 h 10000"/>
                <a:gd name="connsiteX4" fmla="*/ 32 w 10000"/>
                <a:gd name="connsiteY4" fmla="*/ 106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32" y="1069"/>
                  </a:moveTo>
                  <a:cubicBezTo>
                    <a:pt x="21" y="3829"/>
                    <a:pt x="11" y="6590"/>
                    <a:pt x="0" y="9350"/>
                  </a:cubicBezTo>
                  <a:lnTo>
                    <a:pt x="10000" y="10000"/>
                  </a:lnTo>
                  <a:cubicBezTo>
                    <a:pt x="9999" y="6667"/>
                    <a:pt x="9998" y="3333"/>
                    <a:pt x="9997" y="0"/>
                  </a:cubicBezTo>
                  <a:lnTo>
                    <a:pt x="32" y="1069"/>
                  </a:lnTo>
                  <a:close/>
                </a:path>
              </a:pathLst>
            </a:custGeom>
            <a:solidFill>
              <a:schemeClr val="accent4">
                <a:lumMod val="75000"/>
              </a:schemeClr>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03" name="Freeform 13"/>
            <p:cNvSpPr>
              <a:spLocks/>
            </p:cNvSpPr>
            <p:nvPr/>
          </p:nvSpPr>
          <p:spPr bwMode="auto">
            <a:xfrm>
              <a:off x="9568496" y="3581400"/>
              <a:ext cx="2618740" cy="1419243"/>
            </a:xfrm>
            <a:custGeom>
              <a:avLst/>
              <a:gdLst>
                <a:gd name="T0" fmla="*/ 7 w 2157"/>
                <a:gd name="T1" fmla="*/ 125 h 1169"/>
                <a:gd name="T2" fmla="*/ 0 w 2157"/>
                <a:gd name="T3" fmla="*/ 1093 h 1169"/>
                <a:gd name="T4" fmla="*/ 2157 w 2157"/>
                <a:gd name="T5" fmla="*/ 1169 h 1169"/>
                <a:gd name="T6" fmla="*/ 2138 w 2157"/>
                <a:gd name="T7" fmla="*/ 0 h 1169"/>
                <a:gd name="T8" fmla="*/ 7 w 2157"/>
                <a:gd name="T9" fmla="*/ 125 h 1169"/>
              </a:gdLst>
              <a:ahLst/>
              <a:cxnLst>
                <a:cxn ang="0">
                  <a:pos x="T0" y="T1"/>
                </a:cxn>
                <a:cxn ang="0">
                  <a:pos x="T2" y="T3"/>
                </a:cxn>
                <a:cxn ang="0">
                  <a:pos x="T4" y="T5"/>
                </a:cxn>
                <a:cxn ang="0">
                  <a:pos x="T6" y="T7"/>
                </a:cxn>
                <a:cxn ang="0">
                  <a:pos x="T8" y="T9"/>
                </a:cxn>
              </a:cxnLst>
              <a:rect l="0" t="0" r="r" b="b"/>
              <a:pathLst>
                <a:path w="2157" h="1169">
                  <a:moveTo>
                    <a:pt x="7" y="125"/>
                  </a:moveTo>
                  <a:lnTo>
                    <a:pt x="0" y="1093"/>
                  </a:lnTo>
                  <a:lnTo>
                    <a:pt x="2157" y="1169"/>
                  </a:lnTo>
                  <a:lnTo>
                    <a:pt x="2138" y="0"/>
                  </a:lnTo>
                  <a:lnTo>
                    <a:pt x="7" y="125"/>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04" name="Freeform 14"/>
            <p:cNvSpPr>
              <a:spLocks/>
            </p:cNvSpPr>
            <p:nvPr/>
          </p:nvSpPr>
          <p:spPr bwMode="auto">
            <a:xfrm>
              <a:off x="9568496" y="4601215"/>
              <a:ext cx="2618740" cy="399428"/>
            </a:xfrm>
            <a:custGeom>
              <a:avLst/>
              <a:gdLst>
                <a:gd name="T0" fmla="*/ 2 w 2157"/>
                <a:gd name="T1" fmla="*/ 0 h 329"/>
                <a:gd name="T2" fmla="*/ 0 w 2157"/>
                <a:gd name="T3" fmla="*/ 253 h 329"/>
                <a:gd name="T4" fmla="*/ 2157 w 2157"/>
                <a:gd name="T5" fmla="*/ 329 h 329"/>
                <a:gd name="T6" fmla="*/ 2151 w 2157"/>
                <a:gd name="T7" fmla="*/ 17 h 329"/>
                <a:gd name="T8" fmla="*/ 2 w 2157"/>
                <a:gd name="T9" fmla="*/ 0 h 329"/>
                <a:gd name="connsiteX0" fmla="*/ 9 w 10000"/>
                <a:gd name="connsiteY0" fmla="*/ 0 h 10000"/>
                <a:gd name="connsiteX1" fmla="*/ 0 w 10000"/>
                <a:gd name="connsiteY1" fmla="*/ 7690 h 10000"/>
                <a:gd name="connsiteX2" fmla="*/ 10000 w 10000"/>
                <a:gd name="connsiteY2" fmla="*/ 10000 h 10000"/>
                <a:gd name="connsiteX3" fmla="*/ 9996 w 10000"/>
                <a:gd name="connsiteY3" fmla="*/ 596 h 10000"/>
                <a:gd name="connsiteX4" fmla="*/ 9 w 10000"/>
                <a:gd name="connsiteY4" fmla="*/ 0 h 10000"/>
                <a:gd name="connsiteX0" fmla="*/ 9 w 10000"/>
                <a:gd name="connsiteY0" fmla="*/ 0 h 10000"/>
                <a:gd name="connsiteX1" fmla="*/ 0 w 10000"/>
                <a:gd name="connsiteY1" fmla="*/ 7690 h 10000"/>
                <a:gd name="connsiteX2" fmla="*/ 10000 w 10000"/>
                <a:gd name="connsiteY2" fmla="*/ 10000 h 10000"/>
                <a:gd name="connsiteX3" fmla="*/ 9996 w 10000"/>
                <a:gd name="connsiteY3" fmla="*/ 596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cubicBezTo>
                    <a:pt x="6" y="2563"/>
                    <a:pt x="3" y="5127"/>
                    <a:pt x="0" y="7690"/>
                  </a:cubicBezTo>
                  <a:lnTo>
                    <a:pt x="10000" y="10000"/>
                  </a:lnTo>
                  <a:cubicBezTo>
                    <a:pt x="9999" y="6865"/>
                    <a:pt x="9997" y="3731"/>
                    <a:pt x="9996" y="596"/>
                  </a:cubicBezTo>
                  <a:lnTo>
                    <a:pt x="9" y="0"/>
                  </a:lnTo>
                  <a:close/>
                </a:path>
              </a:pathLst>
            </a:custGeom>
            <a:solidFill>
              <a:schemeClr val="accent4">
                <a:lumMod val="50000"/>
              </a:schemeClr>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05" name="Freeform 15"/>
            <p:cNvSpPr>
              <a:spLocks/>
            </p:cNvSpPr>
            <p:nvPr/>
          </p:nvSpPr>
          <p:spPr bwMode="auto">
            <a:xfrm>
              <a:off x="9568496" y="4601215"/>
              <a:ext cx="2618740" cy="399428"/>
            </a:xfrm>
            <a:custGeom>
              <a:avLst/>
              <a:gdLst>
                <a:gd name="T0" fmla="*/ 2 w 2157"/>
                <a:gd name="T1" fmla="*/ 0 h 329"/>
                <a:gd name="T2" fmla="*/ 0 w 2157"/>
                <a:gd name="T3" fmla="*/ 253 h 329"/>
                <a:gd name="T4" fmla="*/ 2157 w 2157"/>
                <a:gd name="T5" fmla="*/ 329 h 329"/>
                <a:gd name="T6" fmla="*/ 2151 w 2157"/>
                <a:gd name="T7" fmla="*/ 17 h 329"/>
                <a:gd name="T8" fmla="*/ 2 w 2157"/>
                <a:gd name="T9" fmla="*/ 0 h 329"/>
              </a:gdLst>
              <a:ahLst/>
              <a:cxnLst>
                <a:cxn ang="0">
                  <a:pos x="T0" y="T1"/>
                </a:cxn>
                <a:cxn ang="0">
                  <a:pos x="T2" y="T3"/>
                </a:cxn>
                <a:cxn ang="0">
                  <a:pos x="T4" y="T5"/>
                </a:cxn>
                <a:cxn ang="0">
                  <a:pos x="T6" y="T7"/>
                </a:cxn>
                <a:cxn ang="0">
                  <a:pos x="T8" y="T9"/>
                </a:cxn>
              </a:cxnLst>
              <a:rect l="0" t="0" r="r" b="b"/>
              <a:pathLst>
                <a:path w="2157" h="329">
                  <a:moveTo>
                    <a:pt x="2" y="0"/>
                  </a:moveTo>
                  <a:lnTo>
                    <a:pt x="0" y="253"/>
                  </a:lnTo>
                  <a:lnTo>
                    <a:pt x="2157" y="329"/>
                  </a:lnTo>
                  <a:lnTo>
                    <a:pt x="2151" y="17"/>
                  </a:lnTo>
                  <a:lnTo>
                    <a:pt x="2"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06" name="Freeform 16"/>
            <p:cNvSpPr>
              <a:spLocks/>
            </p:cNvSpPr>
            <p:nvPr/>
          </p:nvSpPr>
          <p:spPr bwMode="auto">
            <a:xfrm>
              <a:off x="9804025" y="4660705"/>
              <a:ext cx="185752" cy="188181"/>
            </a:xfrm>
            <a:custGeom>
              <a:avLst/>
              <a:gdLst>
                <a:gd name="T0" fmla="*/ 78 w 81"/>
                <a:gd name="T1" fmla="*/ 35 h 82"/>
                <a:gd name="T2" fmla="*/ 46 w 81"/>
                <a:gd name="T3" fmla="*/ 79 h 82"/>
                <a:gd name="T4" fmla="*/ 3 w 81"/>
                <a:gd name="T5" fmla="*/ 47 h 82"/>
                <a:gd name="T6" fmla="*/ 35 w 81"/>
                <a:gd name="T7" fmla="*/ 4 h 82"/>
                <a:gd name="T8" fmla="*/ 78 w 81"/>
                <a:gd name="T9" fmla="*/ 35 h 82"/>
              </a:gdLst>
              <a:ahLst/>
              <a:cxnLst>
                <a:cxn ang="0">
                  <a:pos x="T0" y="T1"/>
                </a:cxn>
                <a:cxn ang="0">
                  <a:pos x="T2" y="T3"/>
                </a:cxn>
                <a:cxn ang="0">
                  <a:pos x="T4" y="T5"/>
                </a:cxn>
                <a:cxn ang="0">
                  <a:pos x="T6" y="T7"/>
                </a:cxn>
                <a:cxn ang="0">
                  <a:pos x="T8" y="T9"/>
                </a:cxn>
              </a:cxnLst>
              <a:rect l="0" t="0" r="r" b="b"/>
              <a:pathLst>
                <a:path w="81" h="82">
                  <a:moveTo>
                    <a:pt x="78" y="35"/>
                  </a:moveTo>
                  <a:cubicBezTo>
                    <a:pt x="81" y="56"/>
                    <a:pt x="67" y="76"/>
                    <a:pt x="46" y="79"/>
                  </a:cubicBezTo>
                  <a:cubicBezTo>
                    <a:pt x="26" y="82"/>
                    <a:pt x="6" y="68"/>
                    <a:pt x="3" y="47"/>
                  </a:cubicBezTo>
                  <a:cubicBezTo>
                    <a:pt x="0" y="26"/>
                    <a:pt x="14" y="7"/>
                    <a:pt x="35" y="4"/>
                  </a:cubicBezTo>
                  <a:cubicBezTo>
                    <a:pt x="56" y="0"/>
                    <a:pt x="75" y="15"/>
                    <a:pt x="78" y="35"/>
                  </a:cubicBezTo>
                  <a:close/>
                </a:path>
              </a:pathLst>
            </a:custGeom>
            <a:solidFill>
              <a:schemeClr val="accent4"/>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07" name="Freeform 17"/>
            <p:cNvSpPr>
              <a:spLocks/>
            </p:cNvSpPr>
            <p:nvPr/>
          </p:nvSpPr>
          <p:spPr bwMode="auto">
            <a:xfrm>
              <a:off x="10096615" y="4678915"/>
              <a:ext cx="185752" cy="188181"/>
            </a:xfrm>
            <a:custGeom>
              <a:avLst/>
              <a:gdLst>
                <a:gd name="T0" fmla="*/ 78 w 81"/>
                <a:gd name="T1" fmla="*/ 35 h 82"/>
                <a:gd name="T2" fmla="*/ 46 w 81"/>
                <a:gd name="T3" fmla="*/ 78 h 82"/>
                <a:gd name="T4" fmla="*/ 3 w 81"/>
                <a:gd name="T5" fmla="*/ 47 h 82"/>
                <a:gd name="T6" fmla="*/ 35 w 81"/>
                <a:gd name="T7" fmla="*/ 3 h 82"/>
                <a:gd name="T8" fmla="*/ 78 w 81"/>
                <a:gd name="T9" fmla="*/ 35 h 82"/>
              </a:gdLst>
              <a:ahLst/>
              <a:cxnLst>
                <a:cxn ang="0">
                  <a:pos x="T0" y="T1"/>
                </a:cxn>
                <a:cxn ang="0">
                  <a:pos x="T2" y="T3"/>
                </a:cxn>
                <a:cxn ang="0">
                  <a:pos x="T4" y="T5"/>
                </a:cxn>
                <a:cxn ang="0">
                  <a:pos x="T6" y="T7"/>
                </a:cxn>
                <a:cxn ang="0">
                  <a:pos x="T8" y="T9"/>
                </a:cxn>
              </a:cxnLst>
              <a:rect l="0" t="0" r="r" b="b"/>
              <a:pathLst>
                <a:path w="81" h="82">
                  <a:moveTo>
                    <a:pt x="78" y="35"/>
                  </a:moveTo>
                  <a:cubicBezTo>
                    <a:pt x="81" y="56"/>
                    <a:pt x="67" y="75"/>
                    <a:pt x="46" y="78"/>
                  </a:cubicBezTo>
                  <a:cubicBezTo>
                    <a:pt x="25" y="82"/>
                    <a:pt x="6" y="67"/>
                    <a:pt x="3" y="47"/>
                  </a:cubicBezTo>
                  <a:cubicBezTo>
                    <a:pt x="0" y="26"/>
                    <a:pt x="14" y="6"/>
                    <a:pt x="35" y="3"/>
                  </a:cubicBezTo>
                  <a:cubicBezTo>
                    <a:pt x="55" y="0"/>
                    <a:pt x="75" y="14"/>
                    <a:pt x="78" y="35"/>
                  </a:cubicBezTo>
                  <a:close/>
                </a:path>
              </a:pathLst>
            </a:custGeom>
            <a:solidFill>
              <a:schemeClr val="accent4"/>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grpSp>
      <p:grpSp>
        <p:nvGrpSpPr>
          <p:cNvPr id="308" name="Group 460"/>
          <p:cNvGrpSpPr/>
          <p:nvPr userDrawn="1"/>
        </p:nvGrpSpPr>
        <p:grpSpPr>
          <a:xfrm flipH="1">
            <a:off x="1191" y="3083042"/>
            <a:ext cx="3333015" cy="1028700"/>
            <a:chOff x="6246812" y="3581400"/>
            <a:chExt cx="5940424" cy="1419243"/>
          </a:xfrm>
        </p:grpSpPr>
        <p:sp>
          <p:nvSpPr>
            <p:cNvPr id="309" name="Freeform 5"/>
            <p:cNvSpPr>
              <a:spLocks/>
            </p:cNvSpPr>
            <p:nvPr/>
          </p:nvSpPr>
          <p:spPr bwMode="auto">
            <a:xfrm>
              <a:off x="6311157" y="3999039"/>
              <a:ext cx="1643845" cy="780645"/>
            </a:xfrm>
            <a:custGeom>
              <a:avLst/>
              <a:gdLst>
                <a:gd name="T0" fmla="*/ 32 w 718"/>
                <a:gd name="T1" fmla="*/ 80 h 340"/>
                <a:gd name="T2" fmla="*/ 0 w 718"/>
                <a:gd name="T3" fmla="*/ 115 h 340"/>
                <a:gd name="T4" fmla="*/ 637 w 718"/>
                <a:gd name="T5" fmla="*/ 340 h 340"/>
                <a:gd name="T6" fmla="*/ 718 w 718"/>
                <a:gd name="T7" fmla="*/ 246 h 340"/>
                <a:gd name="T8" fmla="*/ 32 w 718"/>
                <a:gd name="T9" fmla="*/ 80 h 340"/>
              </a:gdLst>
              <a:ahLst/>
              <a:cxnLst>
                <a:cxn ang="0">
                  <a:pos x="T0" y="T1"/>
                </a:cxn>
                <a:cxn ang="0">
                  <a:pos x="T2" y="T3"/>
                </a:cxn>
                <a:cxn ang="0">
                  <a:pos x="T4" y="T5"/>
                </a:cxn>
                <a:cxn ang="0">
                  <a:pos x="T6" y="T7"/>
                </a:cxn>
                <a:cxn ang="0">
                  <a:pos x="T8" y="T9"/>
                </a:cxn>
              </a:cxnLst>
              <a:rect l="0" t="0" r="r" b="b"/>
              <a:pathLst>
                <a:path w="718" h="340">
                  <a:moveTo>
                    <a:pt x="32" y="80"/>
                  </a:moveTo>
                  <a:cubicBezTo>
                    <a:pt x="0" y="115"/>
                    <a:pt x="0" y="115"/>
                    <a:pt x="0" y="115"/>
                  </a:cubicBezTo>
                  <a:cubicBezTo>
                    <a:pt x="637" y="340"/>
                    <a:pt x="637" y="340"/>
                    <a:pt x="637" y="340"/>
                  </a:cubicBezTo>
                  <a:cubicBezTo>
                    <a:pt x="718" y="246"/>
                    <a:pt x="718" y="246"/>
                    <a:pt x="718" y="246"/>
                  </a:cubicBezTo>
                  <a:cubicBezTo>
                    <a:pt x="718" y="246"/>
                    <a:pt x="167" y="0"/>
                    <a:pt x="32" y="80"/>
                  </a:cubicBezTo>
                  <a:close/>
                </a:path>
              </a:pathLst>
            </a:custGeom>
            <a:solidFill>
              <a:schemeClr val="accent4"/>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10" name="Freeform 6"/>
            <p:cNvSpPr>
              <a:spLocks/>
            </p:cNvSpPr>
            <p:nvPr/>
          </p:nvSpPr>
          <p:spPr bwMode="auto">
            <a:xfrm>
              <a:off x="6246812" y="3965045"/>
              <a:ext cx="1636561" cy="773360"/>
            </a:xfrm>
            <a:custGeom>
              <a:avLst/>
              <a:gdLst>
                <a:gd name="T0" fmla="*/ 35 w 715"/>
                <a:gd name="T1" fmla="*/ 59 h 337"/>
                <a:gd name="T2" fmla="*/ 0 w 715"/>
                <a:gd name="T3" fmla="*/ 86 h 337"/>
                <a:gd name="T4" fmla="*/ 632 w 715"/>
                <a:gd name="T5" fmla="*/ 337 h 337"/>
                <a:gd name="T6" fmla="*/ 715 w 715"/>
                <a:gd name="T7" fmla="*/ 245 h 337"/>
                <a:gd name="T8" fmla="*/ 35 w 715"/>
                <a:gd name="T9" fmla="*/ 59 h 337"/>
              </a:gdLst>
              <a:ahLst/>
              <a:cxnLst>
                <a:cxn ang="0">
                  <a:pos x="T0" y="T1"/>
                </a:cxn>
                <a:cxn ang="0">
                  <a:pos x="T2" y="T3"/>
                </a:cxn>
                <a:cxn ang="0">
                  <a:pos x="T4" y="T5"/>
                </a:cxn>
                <a:cxn ang="0">
                  <a:pos x="T6" y="T7"/>
                </a:cxn>
                <a:cxn ang="0">
                  <a:pos x="T8" y="T9"/>
                </a:cxn>
              </a:cxnLst>
              <a:rect l="0" t="0" r="r" b="b"/>
              <a:pathLst>
                <a:path w="715" h="337">
                  <a:moveTo>
                    <a:pt x="35" y="59"/>
                  </a:moveTo>
                  <a:cubicBezTo>
                    <a:pt x="0" y="86"/>
                    <a:pt x="0" y="86"/>
                    <a:pt x="0" y="86"/>
                  </a:cubicBezTo>
                  <a:cubicBezTo>
                    <a:pt x="632" y="337"/>
                    <a:pt x="632" y="337"/>
                    <a:pt x="632" y="337"/>
                  </a:cubicBezTo>
                  <a:cubicBezTo>
                    <a:pt x="715" y="245"/>
                    <a:pt x="715" y="245"/>
                    <a:pt x="715" y="245"/>
                  </a:cubicBezTo>
                  <a:cubicBezTo>
                    <a:pt x="715" y="245"/>
                    <a:pt x="143" y="0"/>
                    <a:pt x="35" y="59"/>
                  </a:cubicBezTo>
                  <a:close/>
                </a:path>
              </a:pathLst>
            </a:custGeom>
            <a:solidFill>
              <a:schemeClr val="accent4">
                <a:lumMod val="60000"/>
                <a:lumOff val="40000"/>
              </a:schemeClr>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11" name="Freeform 7"/>
            <p:cNvSpPr>
              <a:spLocks/>
            </p:cNvSpPr>
            <p:nvPr/>
          </p:nvSpPr>
          <p:spPr bwMode="auto">
            <a:xfrm>
              <a:off x="6354863" y="3656672"/>
              <a:ext cx="4141178" cy="1284481"/>
            </a:xfrm>
            <a:custGeom>
              <a:avLst/>
              <a:gdLst>
                <a:gd name="T0" fmla="*/ 1763 w 1809"/>
                <a:gd name="T1" fmla="*/ 147 h 559"/>
                <a:gd name="T2" fmla="*/ 1261 w 1809"/>
                <a:gd name="T3" fmla="*/ 110 h 559"/>
                <a:gd name="T4" fmla="*/ 780 w 1809"/>
                <a:gd name="T5" fmla="*/ 195 h 559"/>
                <a:gd name="T6" fmla="*/ 607 w 1809"/>
                <a:gd name="T7" fmla="*/ 216 h 559"/>
                <a:gd name="T8" fmla="*/ 371 w 1809"/>
                <a:gd name="T9" fmla="*/ 243 h 559"/>
                <a:gd name="T10" fmla="*/ 0 w 1809"/>
                <a:gd name="T11" fmla="*/ 199 h 559"/>
                <a:gd name="T12" fmla="*/ 550 w 1809"/>
                <a:gd name="T13" fmla="*/ 470 h 559"/>
                <a:gd name="T14" fmla="*/ 687 w 1809"/>
                <a:gd name="T15" fmla="*/ 546 h 559"/>
                <a:gd name="T16" fmla="*/ 1310 w 1809"/>
                <a:gd name="T17" fmla="*/ 403 h 559"/>
                <a:gd name="T18" fmla="*/ 1809 w 1809"/>
                <a:gd name="T19" fmla="*/ 445 h 559"/>
                <a:gd name="T20" fmla="*/ 1763 w 1809"/>
                <a:gd name="T21" fmla="*/ 147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9" h="559">
                  <a:moveTo>
                    <a:pt x="1763" y="147"/>
                  </a:moveTo>
                  <a:cubicBezTo>
                    <a:pt x="1763" y="147"/>
                    <a:pt x="1326" y="119"/>
                    <a:pt x="1261" y="110"/>
                  </a:cubicBezTo>
                  <a:cubicBezTo>
                    <a:pt x="1196" y="102"/>
                    <a:pt x="966" y="0"/>
                    <a:pt x="780" y="195"/>
                  </a:cubicBezTo>
                  <a:cubicBezTo>
                    <a:pt x="607" y="216"/>
                    <a:pt x="607" y="216"/>
                    <a:pt x="607" y="216"/>
                  </a:cubicBezTo>
                  <a:cubicBezTo>
                    <a:pt x="607" y="216"/>
                    <a:pt x="422" y="162"/>
                    <a:pt x="371" y="243"/>
                  </a:cubicBezTo>
                  <a:cubicBezTo>
                    <a:pt x="371" y="243"/>
                    <a:pt x="95" y="109"/>
                    <a:pt x="0" y="199"/>
                  </a:cubicBezTo>
                  <a:cubicBezTo>
                    <a:pt x="0" y="199"/>
                    <a:pt x="494" y="419"/>
                    <a:pt x="550" y="470"/>
                  </a:cubicBezTo>
                  <a:cubicBezTo>
                    <a:pt x="550" y="470"/>
                    <a:pt x="641" y="559"/>
                    <a:pt x="687" y="546"/>
                  </a:cubicBezTo>
                  <a:cubicBezTo>
                    <a:pt x="732" y="533"/>
                    <a:pt x="1141" y="404"/>
                    <a:pt x="1310" y="403"/>
                  </a:cubicBezTo>
                  <a:cubicBezTo>
                    <a:pt x="1809" y="445"/>
                    <a:pt x="1809" y="445"/>
                    <a:pt x="1809" y="445"/>
                  </a:cubicBezTo>
                  <a:cubicBezTo>
                    <a:pt x="1763" y="147"/>
                    <a:pt x="1763" y="147"/>
                    <a:pt x="1763" y="147"/>
                  </a:cubicBezTo>
                </a:path>
              </a:pathLst>
            </a:custGeom>
            <a:solidFill>
              <a:schemeClr val="accent4"/>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12" name="Freeform 8"/>
            <p:cNvSpPr>
              <a:spLocks/>
            </p:cNvSpPr>
            <p:nvPr/>
          </p:nvSpPr>
          <p:spPr bwMode="auto">
            <a:xfrm>
              <a:off x="7063878" y="4215142"/>
              <a:ext cx="1390105" cy="365434"/>
            </a:xfrm>
            <a:custGeom>
              <a:avLst/>
              <a:gdLst>
                <a:gd name="T0" fmla="*/ 61 w 607"/>
                <a:gd name="T1" fmla="*/ 0 h 159"/>
                <a:gd name="T2" fmla="*/ 479 w 607"/>
                <a:gd name="T3" fmla="*/ 106 h 159"/>
                <a:gd name="T4" fmla="*/ 607 w 607"/>
                <a:gd name="T5" fmla="*/ 68 h 159"/>
                <a:gd name="T6" fmla="*/ 488 w 607"/>
                <a:gd name="T7" fmla="*/ 126 h 159"/>
                <a:gd name="T8" fmla="*/ 61 w 607"/>
                <a:gd name="T9" fmla="*/ 0 h 159"/>
              </a:gdLst>
              <a:ahLst/>
              <a:cxnLst>
                <a:cxn ang="0">
                  <a:pos x="T0" y="T1"/>
                </a:cxn>
                <a:cxn ang="0">
                  <a:pos x="T2" y="T3"/>
                </a:cxn>
                <a:cxn ang="0">
                  <a:pos x="T4" y="T5"/>
                </a:cxn>
                <a:cxn ang="0">
                  <a:pos x="T6" y="T7"/>
                </a:cxn>
                <a:cxn ang="0">
                  <a:pos x="T8" y="T9"/>
                </a:cxn>
              </a:cxnLst>
              <a:rect l="0" t="0" r="r" b="b"/>
              <a:pathLst>
                <a:path w="607" h="159">
                  <a:moveTo>
                    <a:pt x="61" y="0"/>
                  </a:moveTo>
                  <a:cubicBezTo>
                    <a:pt x="61" y="0"/>
                    <a:pt x="0" y="125"/>
                    <a:pt x="479" y="106"/>
                  </a:cubicBezTo>
                  <a:cubicBezTo>
                    <a:pt x="607" y="68"/>
                    <a:pt x="607" y="68"/>
                    <a:pt x="607" y="68"/>
                  </a:cubicBezTo>
                  <a:cubicBezTo>
                    <a:pt x="488" y="126"/>
                    <a:pt x="488" y="126"/>
                    <a:pt x="488" y="126"/>
                  </a:cubicBezTo>
                  <a:cubicBezTo>
                    <a:pt x="488" y="126"/>
                    <a:pt x="4" y="159"/>
                    <a:pt x="61" y="0"/>
                  </a:cubicBezTo>
                  <a:close/>
                </a:path>
              </a:pathLst>
            </a:custGeom>
            <a:solidFill>
              <a:schemeClr val="accent4">
                <a:lumMod val="60000"/>
                <a:lumOff val="40000"/>
              </a:schemeClr>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13" name="Freeform 9"/>
            <p:cNvSpPr>
              <a:spLocks/>
            </p:cNvSpPr>
            <p:nvPr/>
          </p:nvSpPr>
          <p:spPr bwMode="auto">
            <a:xfrm>
              <a:off x="7239918" y="4145941"/>
              <a:ext cx="279235" cy="228244"/>
            </a:xfrm>
            <a:custGeom>
              <a:avLst/>
              <a:gdLst>
                <a:gd name="T0" fmla="*/ 111 w 122"/>
                <a:gd name="T1" fmla="*/ 31 h 99"/>
                <a:gd name="T2" fmla="*/ 92 w 122"/>
                <a:gd name="T3" fmla="*/ 99 h 99"/>
                <a:gd name="T4" fmla="*/ 3 w 122"/>
                <a:gd name="T5" fmla="*/ 56 h 99"/>
                <a:gd name="T6" fmla="*/ 111 w 122"/>
                <a:gd name="T7" fmla="*/ 31 h 99"/>
              </a:gdLst>
              <a:ahLst/>
              <a:cxnLst>
                <a:cxn ang="0">
                  <a:pos x="T0" y="T1"/>
                </a:cxn>
                <a:cxn ang="0">
                  <a:pos x="T2" y="T3"/>
                </a:cxn>
                <a:cxn ang="0">
                  <a:pos x="T4" y="T5"/>
                </a:cxn>
                <a:cxn ang="0">
                  <a:pos x="T6" y="T7"/>
                </a:cxn>
              </a:cxnLst>
              <a:rect l="0" t="0" r="r" b="b"/>
              <a:pathLst>
                <a:path w="122" h="99">
                  <a:moveTo>
                    <a:pt x="111" y="31"/>
                  </a:moveTo>
                  <a:cubicBezTo>
                    <a:pt x="111" y="31"/>
                    <a:pt x="122" y="74"/>
                    <a:pt x="92" y="99"/>
                  </a:cubicBezTo>
                  <a:cubicBezTo>
                    <a:pt x="92" y="99"/>
                    <a:pt x="0" y="92"/>
                    <a:pt x="3" y="56"/>
                  </a:cubicBezTo>
                  <a:cubicBezTo>
                    <a:pt x="6" y="0"/>
                    <a:pt x="111" y="31"/>
                    <a:pt x="111" y="31"/>
                  </a:cubicBezTo>
                  <a:close/>
                </a:path>
              </a:pathLst>
            </a:custGeom>
            <a:solidFill>
              <a:schemeClr val="accent4">
                <a:lumMod val="20000"/>
                <a:lumOff val="80000"/>
              </a:schemeClr>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14" name="Freeform 10"/>
            <p:cNvSpPr>
              <a:spLocks/>
            </p:cNvSpPr>
            <p:nvPr/>
          </p:nvSpPr>
          <p:spPr bwMode="auto">
            <a:xfrm>
              <a:off x="9403383" y="3723446"/>
              <a:ext cx="1682695" cy="1102372"/>
            </a:xfrm>
            <a:custGeom>
              <a:avLst/>
              <a:gdLst>
                <a:gd name="T0" fmla="*/ 0 w 1386"/>
                <a:gd name="T1" fmla="*/ 99 h 908"/>
                <a:gd name="T2" fmla="*/ 40 w 1386"/>
                <a:gd name="T3" fmla="*/ 865 h 908"/>
                <a:gd name="T4" fmla="*/ 1386 w 1386"/>
                <a:gd name="T5" fmla="*/ 908 h 908"/>
                <a:gd name="T6" fmla="*/ 1365 w 1386"/>
                <a:gd name="T7" fmla="*/ 0 h 908"/>
                <a:gd name="T8" fmla="*/ 0 w 1386"/>
                <a:gd name="T9" fmla="*/ 99 h 908"/>
              </a:gdLst>
              <a:ahLst/>
              <a:cxnLst>
                <a:cxn ang="0">
                  <a:pos x="T0" y="T1"/>
                </a:cxn>
                <a:cxn ang="0">
                  <a:pos x="T2" y="T3"/>
                </a:cxn>
                <a:cxn ang="0">
                  <a:pos x="T4" y="T5"/>
                </a:cxn>
                <a:cxn ang="0">
                  <a:pos x="T6" y="T7"/>
                </a:cxn>
                <a:cxn ang="0">
                  <a:pos x="T8" y="T9"/>
                </a:cxn>
              </a:cxnLst>
              <a:rect l="0" t="0" r="r" b="b"/>
              <a:pathLst>
                <a:path w="1386" h="908">
                  <a:moveTo>
                    <a:pt x="0" y="99"/>
                  </a:moveTo>
                  <a:lnTo>
                    <a:pt x="40" y="865"/>
                  </a:lnTo>
                  <a:lnTo>
                    <a:pt x="1386" y="908"/>
                  </a:lnTo>
                  <a:lnTo>
                    <a:pt x="1365" y="0"/>
                  </a:lnTo>
                  <a:lnTo>
                    <a:pt x="0" y="99"/>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15" name="Freeform 11"/>
            <p:cNvSpPr>
              <a:spLocks/>
            </p:cNvSpPr>
            <p:nvPr/>
          </p:nvSpPr>
          <p:spPr bwMode="auto">
            <a:xfrm>
              <a:off x="9403383" y="3723446"/>
              <a:ext cx="1682695" cy="1102372"/>
            </a:xfrm>
            <a:custGeom>
              <a:avLst/>
              <a:gdLst>
                <a:gd name="T0" fmla="*/ 0 w 1386"/>
                <a:gd name="T1" fmla="*/ 99 h 908"/>
                <a:gd name="T2" fmla="*/ 40 w 1386"/>
                <a:gd name="T3" fmla="*/ 865 h 908"/>
                <a:gd name="T4" fmla="*/ 1386 w 1386"/>
                <a:gd name="T5" fmla="*/ 908 h 908"/>
                <a:gd name="T6" fmla="*/ 1365 w 1386"/>
                <a:gd name="T7" fmla="*/ 0 h 908"/>
                <a:gd name="T8" fmla="*/ 0 w 1386"/>
                <a:gd name="T9" fmla="*/ 99 h 908"/>
              </a:gdLst>
              <a:ahLst/>
              <a:cxnLst>
                <a:cxn ang="0">
                  <a:pos x="T0" y="T1"/>
                </a:cxn>
                <a:cxn ang="0">
                  <a:pos x="T2" y="T3"/>
                </a:cxn>
                <a:cxn ang="0">
                  <a:pos x="T4" y="T5"/>
                </a:cxn>
                <a:cxn ang="0">
                  <a:pos x="T6" y="T7"/>
                </a:cxn>
                <a:cxn ang="0">
                  <a:pos x="T8" y="T9"/>
                </a:cxn>
              </a:cxnLst>
              <a:rect l="0" t="0" r="r" b="b"/>
              <a:pathLst>
                <a:path w="1386" h="908">
                  <a:moveTo>
                    <a:pt x="0" y="99"/>
                  </a:moveTo>
                  <a:lnTo>
                    <a:pt x="40" y="865"/>
                  </a:lnTo>
                  <a:lnTo>
                    <a:pt x="1386" y="908"/>
                  </a:lnTo>
                  <a:lnTo>
                    <a:pt x="1365" y="0"/>
                  </a:lnTo>
                  <a:lnTo>
                    <a:pt x="0" y="99"/>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16" name="Freeform 12"/>
            <p:cNvSpPr>
              <a:spLocks/>
            </p:cNvSpPr>
            <p:nvPr/>
          </p:nvSpPr>
          <p:spPr bwMode="auto">
            <a:xfrm>
              <a:off x="9568496" y="3581400"/>
              <a:ext cx="2618740" cy="1419243"/>
            </a:xfrm>
            <a:custGeom>
              <a:avLst/>
              <a:gdLst>
                <a:gd name="T0" fmla="*/ 7 w 2157"/>
                <a:gd name="T1" fmla="*/ 125 h 1169"/>
                <a:gd name="T2" fmla="*/ 0 w 2157"/>
                <a:gd name="T3" fmla="*/ 1093 h 1169"/>
                <a:gd name="T4" fmla="*/ 2157 w 2157"/>
                <a:gd name="T5" fmla="*/ 1169 h 1169"/>
                <a:gd name="T6" fmla="*/ 2138 w 2157"/>
                <a:gd name="T7" fmla="*/ 0 h 1169"/>
                <a:gd name="T8" fmla="*/ 7 w 2157"/>
                <a:gd name="T9" fmla="*/ 125 h 1169"/>
                <a:gd name="connsiteX0" fmla="*/ 32 w 10000"/>
                <a:gd name="connsiteY0" fmla="*/ 1069 h 10000"/>
                <a:gd name="connsiteX1" fmla="*/ 0 w 10000"/>
                <a:gd name="connsiteY1" fmla="*/ 9350 h 10000"/>
                <a:gd name="connsiteX2" fmla="*/ 10000 w 10000"/>
                <a:gd name="connsiteY2" fmla="*/ 10000 h 10000"/>
                <a:gd name="connsiteX3" fmla="*/ 9985 w 10000"/>
                <a:gd name="connsiteY3" fmla="*/ 0 h 10000"/>
                <a:gd name="connsiteX4" fmla="*/ 32 w 10000"/>
                <a:gd name="connsiteY4" fmla="*/ 1069 h 10000"/>
                <a:gd name="connsiteX0" fmla="*/ 32 w 10000"/>
                <a:gd name="connsiteY0" fmla="*/ 1069 h 10000"/>
                <a:gd name="connsiteX1" fmla="*/ 0 w 10000"/>
                <a:gd name="connsiteY1" fmla="*/ 9350 h 10000"/>
                <a:gd name="connsiteX2" fmla="*/ 10000 w 10000"/>
                <a:gd name="connsiteY2" fmla="*/ 10000 h 10000"/>
                <a:gd name="connsiteX3" fmla="*/ 9997 w 10000"/>
                <a:gd name="connsiteY3" fmla="*/ 0 h 10000"/>
                <a:gd name="connsiteX4" fmla="*/ 32 w 10000"/>
                <a:gd name="connsiteY4" fmla="*/ 1069 h 10000"/>
                <a:gd name="connsiteX0" fmla="*/ 32 w 10000"/>
                <a:gd name="connsiteY0" fmla="*/ 1069 h 10000"/>
                <a:gd name="connsiteX1" fmla="*/ 0 w 10000"/>
                <a:gd name="connsiteY1" fmla="*/ 9350 h 10000"/>
                <a:gd name="connsiteX2" fmla="*/ 10000 w 10000"/>
                <a:gd name="connsiteY2" fmla="*/ 10000 h 10000"/>
                <a:gd name="connsiteX3" fmla="*/ 9997 w 10000"/>
                <a:gd name="connsiteY3" fmla="*/ 0 h 10000"/>
                <a:gd name="connsiteX4" fmla="*/ 32 w 10000"/>
                <a:gd name="connsiteY4" fmla="*/ 106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32" y="1069"/>
                  </a:moveTo>
                  <a:cubicBezTo>
                    <a:pt x="21" y="3829"/>
                    <a:pt x="11" y="6590"/>
                    <a:pt x="0" y="9350"/>
                  </a:cubicBezTo>
                  <a:lnTo>
                    <a:pt x="10000" y="10000"/>
                  </a:lnTo>
                  <a:cubicBezTo>
                    <a:pt x="9999" y="6667"/>
                    <a:pt x="9998" y="3333"/>
                    <a:pt x="9997" y="0"/>
                  </a:cubicBezTo>
                  <a:lnTo>
                    <a:pt x="32" y="1069"/>
                  </a:lnTo>
                  <a:close/>
                </a:path>
              </a:pathLst>
            </a:custGeom>
            <a:solidFill>
              <a:schemeClr val="accent4">
                <a:lumMod val="75000"/>
              </a:schemeClr>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17" name="Freeform 13"/>
            <p:cNvSpPr>
              <a:spLocks/>
            </p:cNvSpPr>
            <p:nvPr/>
          </p:nvSpPr>
          <p:spPr bwMode="auto">
            <a:xfrm>
              <a:off x="9568496" y="3581400"/>
              <a:ext cx="2618740" cy="1419243"/>
            </a:xfrm>
            <a:custGeom>
              <a:avLst/>
              <a:gdLst>
                <a:gd name="T0" fmla="*/ 7 w 2157"/>
                <a:gd name="T1" fmla="*/ 125 h 1169"/>
                <a:gd name="T2" fmla="*/ 0 w 2157"/>
                <a:gd name="T3" fmla="*/ 1093 h 1169"/>
                <a:gd name="T4" fmla="*/ 2157 w 2157"/>
                <a:gd name="T5" fmla="*/ 1169 h 1169"/>
                <a:gd name="T6" fmla="*/ 2138 w 2157"/>
                <a:gd name="T7" fmla="*/ 0 h 1169"/>
                <a:gd name="T8" fmla="*/ 7 w 2157"/>
                <a:gd name="T9" fmla="*/ 125 h 1169"/>
              </a:gdLst>
              <a:ahLst/>
              <a:cxnLst>
                <a:cxn ang="0">
                  <a:pos x="T0" y="T1"/>
                </a:cxn>
                <a:cxn ang="0">
                  <a:pos x="T2" y="T3"/>
                </a:cxn>
                <a:cxn ang="0">
                  <a:pos x="T4" y="T5"/>
                </a:cxn>
                <a:cxn ang="0">
                  <a:pos x="T6" y="T7"/>
                </a:cxn>
                <a:cxn ang="0">
                  <a:pos x="T8" y="T9"/>
                </a:cxn>
              </a:cxnLst>
              <a:rect l="0" t="0" r="r" b="b"/>
              <a:pathLst>
                <a:path w="2157" h="1169">
                  <a:moveTo>
                    <a:pt x="7" y="125"/>
                  </a:moveTo>
                  <a:lnTo>
                    <a:pt x="0" y="1093"/>
                  </a:lnTo>
                  <a:lnTo>
                    <a:pt x="2157" y="1169"/>
                  </a:lnTo>
                  <a:lnTo>
                    <a:pt x="2138" y="0"/>
                  </a:lnTo>
                  <a:lnTo>
                    <a:pt x="7" y="125"/>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18" name="Freeform 14"/>
            <p:cNvSpPr>
              <a:spLocks/>
            </p:cNvSpPr>
            <p:nvPr/>
          </p:nvSpPr>
          <p:spPr bwMode="auto">
            <a:xfrm>
              <a:off x="9568496" y="4601215"/>
              <a:ext cx="2618740" cy="399428"/>
            </a:xfrm>
            <a:custGeom>
              <a:avLst/>
              <a:gdLst>
                <a:gd name="T0" fmla="*/ 2 w 2157"/>
                <a:gd name="T1" fmla="*/ 0 h 329"/>
                <a:gd name="T2" fmla="*/ 0 w 2157"/>
                <a:gd name="T3" fmla="*/ 253 h 329"/>
                <a:gd name="T4" fmla="*/ 2157 w 2157"/>
                <a:gd name="T5" fmla="*/ 329 h 329"/>
                <a:gd name="T6" fmla="*/ 2151 w 2157"/>
                <a:gd name="T7" fmla="*/ 17 h 329"/>
                <a:gd name="T8" fmla="*/ 2 w 2157"/>
                <a:gd name="T9" fmla="*/ 0 h 329"/>
                <a:gd name="connsiteX0" fmla="*/ 9 w 10000"/>
                <a:gd name="connsiteY0" fmla="*/ 0 h 10000"/>
                <a:gd name="connsiteX1" fmla="*/ 0 w 10000"/>
                <a:gd name="connsiteY1" fmla="*/ 7690 h 10000"/>
                <a:gd name="connsiteX2" fmla="*/ 10000 w 10000"/>
                <a:gd name="connsiteY2" fmla="*/ 10000 h 10000"/>
                <a:gd name="connsiteX3" fmla="*/ 9996 w 10000"/>
                <a:gd name="connsiteY3" fmla="*/ 596 h 10000"/>
                <a:gd name="connsiteX4" fmla="*/ 9 w 10000"/>
                <a:gd name="connsiteY4" fmla="*/ 0 h 10000"/>
                <a:gd name="connsiteX0" fmla="*/ 9 w 10000"/>
                <a:gd name="connsiteY0" fmla="*/ 0 h 10000"/>
                <a:gd name="connsiteX1" fmla="*/ 0 w 10000"/>
                <a:gd name="connsiteY1" fmla="*/ 7690 h 10000"/>
                <a:gd name="connsiteX2" fmla="*/ 10000 w 10000"/>
                <a:gd name="connsiteY2" fmla="*/ 10000 h 10000"/>
                <a:gd name="connsiteX3" fmla="*/ 9996 w 10000"/>
                <a:gd name="connsiteY3" fmla="*/ 596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cubicBezTo>
                    <a:pt x="6" y="2563"/>
                    <a:pt x="3" y="5127"/>
                    <a:pt x="0" y="7690"/>
                  </a:cubicBezTo>
                  <a:lnTo>
                    <a:pt x="10000" y="10000"/>
                  </a:lnTo>
                  <a:cubicBezTo>
                    <a:pt x="9999" y="6865"/>
                    <a:pt x="9997" y="3731"/>
                    <a:pt x="9996" y="596"/>
                  </a:cubicBezTo>
                  <a:lnTo>
                    <a:pt x="9" y="0"/>
                  </a:lnTo>
                  <a:close/>
                </a:path>
              </a:pathLst>
            </a:custGeom>
            <a:solidFill>
              <a:schemeClr val="accent4">
                <a:lumMod val="50000"/>
              </a:schemeClr>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19" name="Freeform 15"/>
            <p:cNvSpPr>
              <a:spLocks/>
            </p:cNvSpPr>
            <p:nvPr/>
          </p:nvSpPr>
          <p:spPr bwMode="auto">
            <a:xfrm>
              <a:off x="9568496" y="4601215"/>
              <a:ext cx="2618740" cy="399428"/>
            </a:xfrm>
            <a:custGeom>
              <a:avLst/>
              <a:gdLst>
                <a:gd name="T0" fmla="*/ 2 w 2157"/>
                <a:gd name="T1" fmla="*/ 0 h 329"/>
                <a:gd name="T2" fmla="*/ 0 w 2157"/>
                <a:gd name="T3" fmla="*/ 253 h 329"/>
                <a:gd name="T4" fmla="*/ 2157 w 2157"/>
                <a:gd name="T5" fmla="*/ 329 h 329"/>
                <a:gd name="T6" fmla="*/ 2151 w 2157"/>
                <a:gd name="T7" fmla="*/ 17 h 329"/>
                <a:gd name="T8" fmla="*/ 2 w 2157"/>
                <a:gd name="T9" fmla="*/ 0 h 329"/>
              </a:gdLst>
              <a:ahLst/>
              <a:cxnLst>
                <a:cxn ang="0">
                  <a:pos x="T0" y="T1"/>
                </a:cxn>
                <a:cxn ang="0">
                  <a:pos x="T2" y="T3"/>
                </a:cxn>
                <a:cxn ang="0">
                  <a:pos x="T4" y="T5"/>
                </a:cxn>
                <a:cxn ang="0">
                  <a:pos x="T6" y="T7"/>
                </a:cxn>
                <a:cxn ang="0">
                  <a:pos x="T8" y="T9"/>
                </a:cxn>
              </a:cxnLst>
              <a:rect l="0" t="0" r="r" b="b"/>
              <a:pathLst>
                <a:path w="2157" h="329">
                  <a:moveTo>
                    <a:pt x="2" y="0"/>
                  </a:moveTo>
                  <a:lnTo>
                    <a:pt x="0" y="253"/>
                  </a:lnTo>
                  <a:lnTo>
                    <a:pt x="2157" y="329"/>
                  </a:lnTo>
                  <a:lnTo>
                    <a:pt x="2151" y="17"/>
                  </a:lnTo>
                  <a:lnTo>
                    <a:pt x="2"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20" name="Freeform 16"/>
            <p:cNvSpPr>
              <a:spLocks/>
            </p:cNvSpPr>
            <p:nvPr/>
          </p:nvSpPr>
          <p:spPr bwMode="auto">
            <a:xfrm>
              <a:off x="9804025" y="4660705"/>
              <a:ext cx="185752" cy="188181"/>
            </a:xfrm>
            <a:custGeom>
              <a:avLst/>
              <a:gdLst>
                <a:gd name="T0" fmla="*/ 78 w 81"/>
                <a:gd name="T1" fmla="*/ 35 h 82"/>
                <a:gd name="T2" fmla="*/ 46 w 81"/>
                <a:gd name="T3" fmla="*/ 79 h 82"/>
                <a:gd name="T4" fmla="*/ 3 w 81"/>
                <a:gd name="T5" fmla="*/ 47 h 82"/>
                <a:gd name="T6" fmla="*/ 35 w 81"/>
                <a:gd name="T7" fmla="*/ 4 h 82"/>
                <a:gd name="T8" fmla="*/ 78 w 81"/>
                <a:gd name="T9" fmla="*/ 35 h 82"/>
              </a:gdLst>
              <a:ahLst/>
              <a:cxnLst>
                <a:cxn ang="0">
                  <a:pos x="T0" y="T1"/>
                </a:cxn>
                <a:cxn ang="0">
                  <a:pos x="T2" y="T3"/>
                </a:cxn>
                <a:cxn ang="0">
                  <a:pos x="T4" y="T5"/>
                </a:cxn>
                <a:cxn ang="0">
                  <a:pos x="T6" y="T7"/>
                </a:cxn>
                <a:cxn ang="0">
                  <a:pos x="T8" y="T9"/>
                </a:cxn>
              </a:cxnLst>
              <a:rect l="0" t="0" r="r" b="b"/>
              <a:pathLst>
                <a:path w="81" h="82">
                  <a:moveTo>
                    <a:pt x="78" y="35"/>
                  </a:moveTo>
                  <a:cubicBezTo>
                    <a:pt x="81" y="56"/>
                    <a:pt x="67" y="76"/>
                    <a:pt x="46" y="79"/>
                  </a:cubicBezTo>
                  <a:cubicBezTo>
                    <a:pt x="26" y="82"/>
                    <a:pt x="6" y="68"/>
                    <a:pt x="3" y="47"/>
                  </a:cubicBezTo>
                  <a:cubicBezTo>
                    <a:pt x="0" y="26"/>
                    <a:pt x="14" y="7"/>
                    <a:pt x="35" y="4"/>
                  </a:cubicBezTo>
                  <a:cubicBezTo>
                    <a:pt x="56" y="0"/>
                    <a:pt x="75" y="15"/>
                    <a:pt x="78" y="35"/>
                  </a:cubicBezTo>
                  <a:close/>
                </a:path>
              </a:pathLst>
            </a:custGeom>
            <a:solidFill>
              <a:schemeClr val="accent4"/>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sp>
          <p:nvSpPr>
            <p:cNvPr id="321" name="Freeform 17"/>
            <p:cNvSpPr>
              <a:spLocks/>
            </p:cNvSpPr>
            <p:nvPr/>
          </p:nvSpPr>
          <p:spPr bwMode="auto">
            <a:xfrm>
              <a:off x="10096615" y="4678915"/>
              <a:ext cx="185752" cy="188181"/>
            </a:xfrm>
            <a:custGeom>
              <a:avLst/>
              <a:gdLst>
                <a:gd name="T0" fmla="*/ 78 w 81"/>
                <a:gd name="T1" fmla="*/ 35 h 82"/>
                <a:gd name="T2" fmla="*/ 46 w 81"/>
                <a:gd name="T3" fmla="*/ 78 h 82"/>
                <a:gd name="T4" fmla="*/ 3 w 81"/>
                <a:gd name="T5" fmla="*/ 47 h 82"/>
                <a:gd name="T6" fmla="*/ 35 w 81"/>
                <a:gd name="T7" fmla="*/ 3 h 82"/>
                <a:gd name="T8" fmla="*/ 78 w 81"/>
                <a:gd name="T9" fmla="*/ 35 h 82"/>
              </a:gdLst>
              <a:ahLst/>
              <a:cxnLst>
                <a:cxn ang="0">
                  <a:pos x="T0" y="T1"/>
                </a:cxn>
                <a:cxn ang="0">
                  <a:pos x="T2" y="T3"/>
                </a:cxn>
                <a:cxn ang="0">
                  <a:pos x="T4" y="T5"/>
                </a:cxn>
                <a:cxn ang="0">
                  <a:pos x="T6" y="T7"/>
                </a:cxn>
                <a:cxn ang="0">
                  <a:pos x="T8" y="T9"/>
                </a:cxn>
              </a:cxnLst>
              <a:rect l="0" t="0" r="r" b="b"/>
              <a:pathLst>
                <a:path w="81" h="82">
                  <a:moveTo>
                    <a:pt x="78" y="35"/>
                  </a:moveTo>
                  <a:cubicBezTo>
                    <a:pt x="81" y="56"/>
                    <a:pt x="67" y="75"/>
                    <a:pt x="46" y="78"/>
                  </a:cubicBezTo>
                  <a:cubicBezTo>
                    <a:pt x="25" y="82"/>
                    <a:pt x="6" y="67"/>
                    <a:pt x="3" y="47"/>
                  </a:cubicBezTo>
                  <a:cubicBezTo>
                    <a:pt x="0" y="26"/>
                    <a:pt x="14" y="6"/>
                    <a:pt x="35" y="3"/>
                  </a:cubicBezTo>
                  <a:cubicBezTo>
                    <a:pt x="55" y="0"/>
                    <a:pt x="75" y="14"/>
                    <a:pt x="78" y="35"/>
                  </a:cubicBezTo>
                  <a:close/>
                </a:path>
              </a:pathLst>
            </a:custGeom>
            <a:solidFill>
              <a:schemeClr val="accent4"/>
            </a:solidFill>
            <a:ln w="9525">
              <a:noFill/>
              <a:round/>
              <a:headEnd/>
              <a:tailEnd/>
            </a:ln>
          </p:spPr>
          <p:txBody>
            <a:bodyPr vert="horz" wrap="square" lIns="68580" tIns="34290" rIns="68580" bIns="34290" numCol="1" anchor="t" anchorCtr="0" compatLnSpc="1">
              <a:prstTxWarp prst="textNoShape">
                <a:avLst/>
              </a:prstTxWarp>
            </a:bodyPr>
            <a:lstStyle/>
            <a:p>
              <a:pPr defTabSz="914240"/>
              <a:endParaRPr lang="en-US" sz="1800" dirty="0">
                <a:solidFill>
                  <a:srgbClr val="000000"/>
                </a:solidFill>
                <a:latin typeface="Arial" panose="020B0604020202020204" pitchFamily="34" charset="0"/>
                <a:cs typeface="Arial" panose="020B0604020202020204" pitchFamily="34" charset="0"/>
              </a:endParaRPr>
            </a:p>
          </p:txBody>
        </p:sp>
      </p:grpSp>
      <p:sp>
        <p:nvSpPr>
          <p:cNvPr id="322" name="Oval 498"/>
          <p:cNvSpPr/>
          <p:nvPr userDrawn="1"/>
        </p:nvSpPr>
        <p:spPr>
          <a:xfrm>
            <a:off x="1954530" y="1313935"/>
            <a:ext cx="1359967" cy="1263716"/>
          </a:xfrm>
          <a:prstGeom prst="ellipse">
            <a:avLst/>
          </a:prstGeom>
          <a:gradFill flip="none" rotWithShape="1">
            <a:gsLst>
              <a:gs pos="22000">
                <a:srgbClr val="FFFF00"/>
              </a:gs>
              <a:gs pos="97000">
                <a:sysClr val="window" lastClr="FFFFFF">
                  <a:lumMod val="100000"/>
                  <a:alpha val="0"/>
                </a:sys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ysClr val="window" lastClr="FFFFFF"/>
              </a:solidFill>
              <a:latin typeface="Arial" panose="020B0604020202020204" pitchFamily="34" charset="0"/>
              <a:cs typeface="Arial" panose="020B0604020202020204" pitchFamily="34" charset="0"/>
            </a:endParaRPr>
          </a:p>
        </p:txBody>
      </p:sp>
      <p:pic>
        <p:nvPicPr>
          <p:cNvPr id="323" name="Picture 322"/>
          <p:cNvPicPr>
            <a:picLocks noChangeAspect="1"/>
          </p:cNvPicPr>
          <p:nvPr userDrawn="1"/>
        </p:nvPicPr>
        <p:blipFill>
          <a:blip r:embed="rId2">
            <a:biLevel thresh="25000"/>
          </a:blip>
          <a:stretch>
            <a:fillRect/>
          </a:stretch>
        </p:blipFill>
        <p:spPr>
          <a:xfrm>
            <a:off x="2743200" y="3683820"/>
            <a:ext cx="3216269" cy="773881"/>
          </a:xfrm>
          <a:prstGeom prst="rect">
            <a:avLst/>
          </a:prstGeom>
        </p:spPr>
      </p:pic>
    </p:spTree>
    <p:extLst>
      <p:ext uri="{BB962C8B-B14F-4D97-AF65-F5344CB8AC3E}">
        <p14:creationId xmlns:p14="http://schemas.microsoft.com/office/powerpoint/2010/main" val="3164782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1" hasCustomPrompt="1"/>
          </p:nvPr>
        </p:nvSpPr>
        <p:spPr>
          <a:xfrm>
            <a:off x="76200" y="66674"/>
            <a:ext cx="4924425" cy="271463"/>
          </a:xfrm>
        </p:spPr>
        <p:txBody>
          <a:bodyPr lIns="118872" tIns="0" rIns="91440" bIns="0" anchor="ctr">
            <a:noAutofit/>
          </a:bodyPr>
          <a:lstStyle>
            <a:lvl1pPr>
              <a:defRPr b="1" baseline="0">
                <a:solidFill>
                  <a:schemeClr val="bg1"/>
                </a:solidFill>
              </a:defRPr>
            </a:lvl1pPr>
          </a:lstStyle>
          <a:p>
            <a:pPr lvl="0"/>
            <a:r>
              <a:rPr lang="en-US" dirty="0"/>
              <a:t>Section Title</a:t>
            </a:r>
          </a:p>
        </p:txBody>
      </p:sp>
    </p:spTree>
    <p:extLst>
      <p:ext uri="{BB962C8B-B14F-4D97-AF65-F5344CB8AC3E}">
        <p14:creationId xmlns:p14="http://schemas.microsoft.com/office/powerpoint/2010/main" val="18923131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8" name="Group 7"/>
          <p:cNvGrpSpPr/>
          <p:nvPr userDrawn="1"/>
        </p:nvGrpSpPr>
        <p:grpSpPr>
          <a:xfrm>
            <a:off x="0" y="0"/>
            <a:ext cx="9144000" cy="5143500"/>
            <a:chOff x="0" y="0"/>
            <a:chExt cx="12192000" cy="6858000"/>
          </a:xfrm>
        </p:grpSpPr>
        <p:sp>
          <p:nvSpPr>
            <p:cNvPr id="6" name="Rectangle 5"/>
            <p:cNvSpPr/>
            <p:nvPr userDrawn="1"/>
          </p:nvSpPr>
          <p:spPr>
            <a:xfrm>
              <a:off x="0" y="0"/>
              <a:ext cx="12192000" cy="548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13" noProof="0" dirty="0"/>
            </a:p>
          </p:txBody>
        </p:sp>
        <p:sp>
          <p:nvSpPr>
            <p:cNvPr id="7" name="Rectangle 6"/>
            <p:cNvSpPr/>
            <p:nvPr userDrawn="1"/>
          </p:nvSpPr>
          <p:spPr>
            <a:xfrm>
              <a:off x="0" y="5486400"/>
              <a:ext cx="12192000" cy="137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13" noProof="0" dirty="0"/>
            </a:p>
          </p:txBody>
        </p:sp>
      </p:grpSp>
      <p:pic>
        <p:nvPicPr>
          <p:cNvPr id="9" name="Picture 8"/>
          <p:cNvPicPr>
            <a:picLocks noChangeAspect="1"/>
          </p:cNvPicPr>
          <p:nvPr userDrawn="1"/>
        </p:nvPicPr>
        <p:blipFill>
          <a:blip r:embed="rId2"/>
          <a:stretch>
            <a:fillRect/>
          </a:stretch>
        </p:blipFill>
        <p:spPr>
          <a:xfrm>
            <a:off x="6215063" y="4427072"/>
            <a:ext cx="2582796" cy="442857"/>
          </a:xfrm>
          <a:prstGeom prst="rect">
            <a:avLst/>
          </a:prstGeom>
        </p:spPr>
      </p:pic>
      <p:sp>
        <p:nvSpPr>
          <p:cNvPr id="2" name="Title 1"/>
          <p:cNvSpPr>
            <a:spLocks noGrp="1"/>
          </p:cNvSpPr>
          <p:nvPr>
            <p:ph type="ctrTitle" hasCustomPrompt="1"/>
          </p:nvPr>
        </p:nvSpPr>
        <p:spPr bwMode="gray">
          <a:xfrm>
            <a:off x="332100" y="638553"/>
            <a:ext cx="8372951" cy="833098"/>
          </a:xfrm>
        </p:spPr>
        <p:txBody>
          <a:bodyPr anchor="t" anchorCtr="0"/>
          <a:lstStyle>
            <a:lvl1pPr algn="l">
              <a:lnSpc>
                <a:spcPts val="3000"/>
              </a:lnSpc>
              <a:defRPr sz="3000" b="1" baseline="0"/>
            </a:lvl1pPr>
          </a:lstStyle>
          <a:p>
            <a:r>
              <a:rPr lang="en-GB" noProof="0" dirty="0"/>
              <a:t>&lt;Presentation Title&gt;</a:t>
            </a:r>
          </a:p>
        </p:txBody>
      </p:sp>
      <p:sp>
        <p:nvSpPr>
          <p:cNvPr id="3" name="Subtitle 2"/>
          <p:cNvSpPr>
            <a:spLocks noGrp="1"/>
          </p:cNvSpPr>
          <p:nvPr>
            <p:ph type="subTitle" idx="1" hasCustomPrompt="1"/>
          </p:nvPr>
        </p:nvSpPr>
        <p:spPr bwMode="gray">
          <a:xfrm>
            <a:off x="332100" y="1661463"/>
            <a:ext cx="8372951" cy="685761"/>
          </a:xfrm>
          <a:prstGeom prst="rect">
            <a:avLst/>
          </a:prstGeom>
        </p:spPr>
        <p:txBody>
          <a:bodyPr/>
          <a:lstStyle>
            <a:lvl1pPr marL="0" indent="0" algn="l">
              <a:lnSpc>
                <a:spcPts val="2250"/>
              </a:lnSpc>
              <a:spcBef>
                <a:spcPts val="0"/>
              </a:spcBef>
              <a:buNone/>
              <a:defRPr sz="2325" b="0" baseline="0">
                <a:solidFill>
                  <a:schemeClr val="bg1"/>
                </a:solidFill>
                <a:latin typeface="+mj-lt"/>
              </a:defRPr>
            </a:lvl1pPr>
            <a:lvl2pPr marL="342878" indent="0" algn="ctr">
              <a:buNone/>
              <a:defRPr>
                <a:solidFill>
                  <a:schemeClr val="tx1">
                    <a:tint val="75000"/>
                  </a:schemeClr>
                </a:solidFill>
              </a:defRPr>
            </a:lvl2pPr>
            <a:lvl3pPr marL="685757" indent="0" algn="ctr">
              <a:buNone/>
              <a:defRPr>
                <a:solidFill>
                  <a:schemeClr val="tx1">
                    <a:tint val="75000"/>
                  </a:schemeClr>
                </a:solidFill>
              </a:defRPr>
            </a:lvl3pPr>
            <a:lvl4pPr marL="1028635" indent="0" algn="ctr">
              <a:buNone/>
              <a:defRPr>
                <a:solidFill>
                  <a:schemeClr val="tx1">
                    <a:tint val="75000"/>
                  </a:schemeClr>
                </a:solidFill>
              </a:defRPr>
            </a:lvl4pPr>
            <a:lvl5pPr marL="1371513" indent="0" algn="ctr">
              <a:buNone/>
              <a:defRPr>
                <a:solidFill>
                  <a:schemeClr val="tx1">
                    <a:tint val="75000"/>
                  </a:schemeClr>
                </a:solidFill>
              </a:defRPr>
            </a:lvl5pPr>
            <a:lvl6pPr marL="1714391" indent="0" algn="ctr">
              <a:buNone/>
              <a:defRPr>
                <a:solidFill>
                  <a:schemeClr val="tx1">
                    <a:tint val="75000"/>
                  </a:schemeClr>
                </a:solidFill>
              </a:defRPr>
            </a:lvl6pPr>
            <a:lvl7pPr marL="2057270" indent="0" algn="ctr">
              <a:buNone/>
              <a:defRPr>
                <a:solidFill>
                  <a:schemeClr val="tx1">
                    <a:tint val="75000"/>
                  </a:schemeClr>
                </a:solidFill>
              </a:defRPr>
            </a:lvl7pPr>
            <a:lvl8pPr marL="2400149" indent="0" algn="ctr">
              <a:buNone/>
              <a:defRPr>
                <a:solidFill>
                  <a:schemeClr val="tx1">
                    <a:tint val="75000"/>
                  </a:schemeClr>
                </a:solidFill>
              </a:defRPr>
            </a:lvl8pPr>
            <a:lvl9pPr marL="2743027" indent="0" algn="ctr">
              <a:buNone/>
              <a:defRPr>
                <a:solidFill>
                  <a:schemeClr val="tx1">
                    <a:tint val="75000"/>
                  </a:schemeClr>
                </a:solidFill>
              </a:defRPr>
            </a:lvl9pPr>
          </a:lstStyle>
          <a:p>
            <a:r>
              <a:rPr lang="en-GB" noProof="0" dirty="0"/>
              <a:t>&lt;Presentation Sub Title&gt;</a:t>
            </a:r>
          </a:p>
        </p:txBody>
      </p:sp>
      <p:sp>
        <p:nvSpPr>
          <p:cNvPr id="4" name="Date Placeholder 3"/>
          <p:cNvSpPr>
            <a:spLocks noGrp="1"/>
          </p:cNvSpPr>
          <p:nvPr>
            <p:ph type="dt" sz="half" idx="10"/>
          </p:nvPr>
        </p:nvSpPr>
        <p:spPr>
          <a:xfrm>
            <a:off x="332101" y="4576757"/>
            <a:ext cx="4120532" cy="275152"/>
          </a:xfrm>
          <a:prstGeom prst="rect">
            <a:avLst/>
          </a:prstGeom>
        </p:spPr>
        <p:txBody>
          <a:bodyPr lIns="0" tIns="0" rIns="0" bIns="0"/>
          <a:lstStyle>
            <a:lvl1pPr>
              <a:defRPr sz="1650" b="0">
                <a:solidFill>
                  <a:schemeClr val="accent2"/>
                </a:solidFill>
                <a:latin typeface="+mj-lt"/>
              </a:defRPr>
            </a:lvl1pPr>
          </a:lstStyle>
          <a:p>
            <a:r>
              <a:rPr lang="en-US"/>
              <a:t>Insert Date with 'Insert - Header &amp; Footer'</a:t>
            </a:r>
            <a:endParaRPr lang="en-GB" dirty="0"/>
          </a:p>
        </p:txBody>
      </p:sp>
      <p:sp>
        <p:nvSpPr>
          <p:cNvPr id="13" name="Analyst Name"/>
          <p:cNvSpPr>
            <a:spLocks noGrp="1"/>
          </p:cNvSpPr>
          <p:nvPr>
            <p:ph type="body" sz="quarter" idx="11" hasCustomPrompt="1"/>
          </p:nvPr>
        </p:nvSpPr>
        <p:spPr>
          <a:xfrm>
            <a:off x="332100" y="2409410"/>
            <a:ext cx="4320000" cy="299700"/>
          </a:xfrm>
          <a:prstGeom prst="rect">
            <a:avLst/>
          </a:prstGeom>
        </p:spPr>
        <p:txBody>
          <a:bodyPr/>
          <a:lstStyle>
            <a:lvl1pPr>
              <a:spcBef>
                <a:spcPts val="0"/>
              </a:spcBef>
              <a:spcAft>
                <a:spcPts val="0"/>
              </a:spcAft>
              <a:defRPr sz="1800" b="1">
                <a:solidFill>
                  <a:schemeClr val="bg1"/>
                </a:solidFill>
                <a:latin typeface="+mj-lt"/>
              </a:defRPr>
            </a:lvl1pPr>
            <a:lvl2pPr>
              <a:defRPr sz="1950" b="1">
                <a:solidFill>
                  <a:schemeClr val="bg1"/>
                </a:solidFill>
              </a:defRPr>
            </a:lvl2pPr>
            <a:lvl3pPr>
              <a:defRPr sz="1950" b="1">
                <a:solidFill>
                  <a:schemeClr val="bg1"/>
                </a:solidFill>
              </a:defRPr>
            </a:lvl3pPr>
            <a:lvl4pPr>
              <a:defRPr sz="1950" b="1">
                <a:solidFill>
                  <a:schemeClr val="bg1"/>
                </a:solidFill>
              </a:defRPr>
            </a:lvl4pPr>
            <a:lvl5pPr>
              <a:defRPr sz="1950" b="1">
                <a:solidFill>
                  <a:schemeClr val="bg1"/>
                </a:solidFill>
              </a:defRPr>
            </a:lvl5pPr>
            <a:lvl6pPr>
              <a:defRPr sz="1950" b="1">
                <a:solidFill>
                  <a:schemeClr val="bg1"/>
                </a:solidFill>
              </a:defRPr>
            </a:lvl6pPr>
            <a:lvl7pPr>
              <a:defRPr sz="1950" b="1">
                <a:solidFill>
                  <a:schemeClr val="bg1"/>
                </a:solidFill>
              </a:defRPr>
            </a:lvl7pPr>
            <a:lvl8pPr>
              <a:defRPr sz="1950" b="1">
                <a:solidFill>
                  <a:schemeClr val="bg1"/>
                </a:solidFill>
              </a:defRPr>
            </a:lvl8pPr>
            <a:lvl9pPr>
              <a:defRPr sz="1950" b="1">
                <a:solidFill>
                  <a:schemeClr val="bg1"/>
                </a:solidFill>
              </a:defRPr>
            </a:lvl9pPr>
          </a:lstStyle>
          <a:p>
            <a:pPr lvl="0"/>
            <a:r>
              <a:rPr lang="en-US" dirty="0"/>
              <a:t>&lt;Analyst Name&gt;</a:t>
            </a:r>
            <a:endParaRPr lang="en-GB" dirty="0"/>
          </a:p>
        </p:txBody>
      </p:sp>
      <p:sp>
        <p:nvSpPr>
          <p:cNvPr id="14" name="Analyst Title"/>
          <p:cNvSpPr>
            <a:spLocks noGrp="1"/>
          </p:cNvSpPr>
          <p:nvPr>
            <p:ph type="body" sz="quarter" idx="12" hasCustomPrompt="1"/>
          </p:nvPr>
        </p:nvSpPr>
        <p:spPr>
          <a:xfrm>
            <a:off x="332100" y="2717210"/>
            <a:ext cx="4320000" cy="299700"/>
          </a:xfrm>
          <a:prstGeom prst="rect">
            <a:avLst/>
          </a:prstGeom>
        </p:spPr>
        <p:txBody>
          <a:bodyPr/>
          <a:lstStyle>
            <a:lvl1pPr>
              <a:spcBef>
                <a:spcPts val="0"/>
              </a:spcBef>
              <a:spcAft>
                <a:spcPts val="0"/>
              </a:spcAft>
              <a:defRPr sz="1800" b="0">
                <a:solidFill>
                  <a:schemeClr val="bg1"/>
                </a:solidFill>
                <a:latin typeface="+mj-lt"/>
              </a:defRPr>
            </a:lvl1pPr>
            <a:lvl2pPr>
              <a:defRPr sz="1950" b="0">
                <a:solidFill>
                  <a:schemeClr val="bg1"/>
                </a:solidFill>
              </a:defRPr>
            </a:lvl2pPr>
            <a:lvl3pPr>
              <a:defRPr sz="1950" b="0">
                <a:solidFill>
                  <a:schemeClr val="bg1"/>
                </a:solidFill>
              </a:defRPr>
            </a:lvl3pPr>
            <a:lvl4pPr>
              <a:defRPr sz="1950" b="0">
                <a:solidFill>
                  <a:schemeClr val="bg1"/>
                </a:solidFill>
              </a:defRPr>
            </a:lvl4pPr>
            <a:lvl5pPr>
              <a:defRPr sz="1950" b="0">
                <a:solidFill>
                  <a:schemeClr val="bg1"/>
                </a:solidFill>
              </a:defRPr>
            </a:lvl5pPr>
            <a:lvl6pPr>
              <a:defRPr sz="1950" b="0">
                <a:solidFill>
                  <a:schemeClr val="bg1"/>
                </a:solidFill>
              </a:defRPr>
            </a:lvl6pPr>
            <a:lvl7pPr>
              <a:defRPr sz="1950" b="0">
                <a:solidFill>
                  <a:schemeClr val="bg1"/>
                </a:solidFill>
              </a:defRPr>
            </a:lvl7pPr>
            <a:lvl8pPr>
              <a:defRPr sz="1950" b="0">
                <a:solidFill>
                  <a:schemeClr val="bg1"/>
                </a:solidFill>
              </a:defRPr>
            </a:lvl8pPr>
            <a:lvl9pPr>
              <a:defRPr sz="1950" b="0">
                <a:solidFill>
                  <a:schemeClr val="bg1"/>
                </a:solidFill>
              </a:defRPr>
            </a:lvl9pPr>
          </a:lstStyle>
          <a:p>
            <a:pPr lvl="0"/>
            <a:r>
              <a:rPr lang="en-GB" dirty="0"/>
              <a:t>&lt;Title&gt;</a:t>
            </a:r>
          </a:p>
        </p:txBody>
      </p:sp>
      <p:sp>
        <p:nvSpPr>
          <p:cNvPr id="15" name="Analyst Email"/>
          <p:cNvSpPr>
            <a:spLocks noGrp="1"/>
          </p:cNvSpPr>
          <p:nvPr>
            <p:ph type="body" sz="quarter" idx="13" hasCustomPrompt="1"/>
          </p:nvPr>
        </p:nvSpPr>
        <p:spPr>
          <a:xfrm>
            <a:off x="332100" y="3025010"/>
            <a:ext cx="4320000" cy="299700"/>
          </a:xfrm>
          <a:prstGeom prst="rect">
            <a:avLst/>
          </a:prstGeom>
        </p:spPr>
        <p:txBody>
          <a:bodyPr/>
          <a:lstStyle>
            <a:lvl1pPr>
              <a:spcBef>
                <a:spcPts val="0"/>
              </a:spcBef>
              <a:spcAft>
                <a:spcPts val="0"/>
              </a:spcAft>
              <a:defRPr sz="1800" b="0">
                <a:solidFill>
                  <a:schemeClr val="bg1"/>
                </a:solidFill>
                <a:latin typeface="+mj-lt"/>
              </a:defRPr>
            </a:lvl1pPr>
            <a:lvl2pPr>
              <a:defRPr sz="1950" b="0">
                <a:solidFill>
                  <a:schemeClr val="bg1"/>
                </a:solidFill>
              </a:defRPr>
            </a:lvl2pPr>
            <a:lvl3pPr>
              <a:defRPr sz="1950" b="0">
                <a:solidFill>
                  <a:schemeClr val="bg1"/>
                </a:solidFill>
              </a:defRPr>
            </a:lvl3pPr>
            <a:lvl4pPr>
              <a:defRPr sz="1950" b="0">
                <a:solidFill>
                  <a:schemeClr val="bg1"/>
                </a:solidFill>
              </a:defRPr>
            </a:lvl4pPr>
            <a:lvl5pPr>
              <a:defRPr sz="1950" b="0">
                <a:solidFill>
                  <a:schemeClr val="bg1"/>
                </a:solidFill>
              </a:defRPr>
            </a:lvl5pPr>
            <a:lvl6pPr>
              <a:defRPr sz="1950" b="0">
                <a:solidFill>
                  <a:schemeClr val="bg1"/>
                </a:solidFill>
              </a:defRPr>
            </a:lvl6pPr>
            <a:lvl7pPr>
              <a:defRPr sz="1950" b="0">
                <a:solidFill>
                  <a:schemeClr val="bg1"/>
                </a:solidFill>
              </a:defRPr>
            </a:lvl7pPr>
            <a:lvl8pPr>
              <a:defRPr sz="1950" b="0">
                <a:solidFill>
                  <a:schemeClr val="bg1"/>
                </a:solidFill>
              </a:defRPr>
            </a:lvl8pPr>
            <a:lvl9pPr>
              <a:defRPr sz="1950" b="0">
                <a:solidFill>
                  <a:schemeClr val="bg1"/>
                </a:solidFill>
              </a:defRPr>
            </a:lvl9pPr>
          </a:lstStyle>
          <a:p>
            <a:pPr lvl="0"/>
            <a:r>
              <a:rPr lang="en-GB" dirty="0"/>
              <a:t>&lt;Email&gt;</a:t>
            </a:r>
          </a:p>
        </p:txBody>
      </p:sp>
    </p:spTree>
    <p:extLst>
      <p:ext uri="{BB962C8B-B14F-4D97-AF65-F5344CB8AC3E}">
        <p14:creationId xmlns:p14="http://schemas.microsoft.com/office/powerpoint/2010/main" val="12207996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hasCustomPrompt="1"/>
          </p:nvPr>
        </p:nvSpPr>
        <p:spPr bwMode="gray">
          <a:xfrm>
            <a:off x="332100" y="953262"/>
            <a:ext cx="8477964" cy="3618903"/>
          </a:xfrm>
          <a:prstGeom prst="rect">
            <a:avLst/>
          </a:prstGeom>
        </p:spPr>
        <p:txBody>
          <a:bodyPr vert="horz" lIns="0" tIns="0" rIns="0" bIns="0" rtlCol="0">
            <a:noAutofit/>
          </a:bodyPr>
          <a:lstStyle>
            <a:lvl1pPr>
              <a:defRPr lang="en-GB" noProof="0" dirty="0" smtClean="0"/>
            </a:lvl1pPr>
            <a:lvl2pPr>
              <a:defRPr lang="en-GB" noProof="0" dirty="0" smtClean="0"/>
            </a:lvl2pPr>
            <a:lvl3pPr>
              <a:defRPr lang="en-GB" noProof="0" dirty="0" smtClean="0"/>
            </a:lvl3pPr>
            <a:lvl4pPr>
              <a:defRPr lang="en-GB" noProof="0" dirty="0" smtClean="0"/>
            </a:lvl4pPr>
            <a:lvl5pPr>
              <a:defRPr lang="en-GB" noProof="0" dirty="0" smtClean="0"/>
            </a:lvl5pPr>
            <a:lvl6pPr>
              <a:defRPr lang="en-GB" noProof="0" dirty="0" smtClean="0"/>
            </a:lvl6pPr>
            <a:lvl7pPr>
              <a:defRPr lang="en-GB" noProof="0" dirty="0" smtClean="0"/>
            </a:lvl7pPr>
            <a:lvl8pPr>
              <a:defRPr lang="en-GB" noProof="0" dirty="0" smtClean="0"/>
            </a:lvl8pPr>
            <a:lvl9pPr>
              <a:defRPr lang="en-GB" noProof="0" dirty="0"/>
            </a:lvl9pPr>
          </a:lstStyle>
          <a:p>
            <a:pPr lvl="0"/>
            <a:r>
              <a:rPr lang="en-GB" noProof="0" dirty="0"/>
              <a:t>&lt;Insert bullets or format text with the buttons on the ‘GTM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3" name="Title 2"/>
          <p:cNvSpPr>
            <a:spLocks noGrp="1"/>
          </p:cNvSpPr>
          <p:nvPr>
            <p:ph type="title" hasCustomPrompt="1"/>
          </p:nvPr>
        </p:nvSpPr>
        <p:spPr>
          <a:xfrm>
            <a:off x="332100" y="108000"/>
            <a:ext cx="8478000" cy="571500"/>
          </a:xfrm>
        </p:spPr>
        <p:txBody>
          <a:bodyPr/>
          <a:lstStyle/>
          <a:p>
            <a:r>
              <a:rPr lang="en-GB" noProof="0" dirty="0"/>
              <a:t>&lt;Insert title&gt;</a:t>
            </a:r>
          </a:p>
        </p:txBody>
      </p:sp>
    </p:spTree>
    <p:extLst>
      <p:ext uri="{BB962C8B-B14F-4D97-AF65-F5344CB8AC3E}">
        <p14:creationId xmlns:p14="http://schemas.microsoft.com/office/powerpoint/2010/main" val="42218089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_Logos">
    <p:spTree>
      <p:nvGrpSpPr>
        <p:cNvPr id="1" name=""/>
        <p:cNvGrpSpPr/>
        <p:nvPr/>
      </p:nvGrpSpPr>
      <p:grpSpPr>
        <a:xfrm>
          <a:off x="0" y="0"/>
          <a:ext cx="0" cy="0"/>
          <a:chOff x="0" y="0"/>
          <a:chExt cx="0" cy="0"/>
        </a:xfrm>
      </p:grpSpPr>
      <p:grpSp>
        <p:nvGrpSpPr>
          <p:cNvPr id="8" name="Group 7"/>
          <p:cNvGrpSpPr/>
          <p:nvPr userDrawn="1"/>
        </p:nvGrpSpPr>
        <p:grpSpPr>
          <a:xfrm>
            <a:off x="0" y="0"/>
            <a:ext cx="9144000" cy="5143500"/>
            <a:chOff x="0" y="0"/>
            <a:chExt cx="12192000" cy="6858000"/>
          </a:xfrm>
        </p:grpSpPr>
        <p:sp>
          <p:nvSpPr>
            <p:cNvPr id="6" name="Rectangle 5"/>
            <p:cNvSpPr/>
            <p:nvPr userDrawn="1"/>
          </p:nvSpPr>
          <p:spPr>
            <a:xfrm>
              <a:off x="0" y="0"/>
              <a:ext cx="12192000" cy="548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13" noProof="0" dirty="0"/>
            </a:p>
          </p:txBody>
        </p:sp>
        <p:sp>
          <p:nvSpPr>
            <p:cNvPr id="7" name="Rectangle 6"/>
            <p:cNvSpPr/>
            <p:nvPr userDrawn="1"/>
          </p:nvSpPr>
          <p:spPr>
            <a:xfrm>
              <a:off x="0" y="5486400"/>
              <a:ext cx="12192000" cy="137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13" noProof="0" dirty="0"/>
            </a:p>
          </p:txBody>
        </p:sp>
      </p:grpSp>
      <p:pic>
        <p:nvPicPr>
          <p:cNvPr id="9" name="Picture 8"/>
          <p:cNvPicPr>
            <a:picLocks noChangeAspect="1"/>
          </p:cNvPicPr>
          <p:nvPr userDrawn="1"/>
        </p:nvPicPr>
        <p:blipFill>
          <a:blip r:embed="rId2"/>
          <a:stretch>
            <a:fillRect/>
          </a:stretch>
        </p:blipFill>
        <p:spPr>
          <a:xfrm>
            <a:off x="6215063" y="4427072"/>
            <a:ext cx="2582796" cy="442857"/>
          </a:xfrm>
          <a:prstGeom prst="rect">
            <a:avLst/>
          </a:prstGeom>
        </p:spPr>
      </p:pic>
      <p:sp>
        <p:nvSpPr>
          <p:cNvPr id="4" name="Date Placeholder 3"/>
          <p:cNvSpPr>
            <a:spLocks noGrp="1"/>
          </p:cNvSpPr>
          <p:nvPr>
            <p:ph type="dt" sz="half" idx="10"/>
          </p:nvPr>
        </p:nvSpPr>
        <p:spPr>
          <a:xfrm>
            <a:off x="332101" y="4576500"/>
            <a:ext cx="4120532" cy="275152"/>
          </a:xfrm>
          <a:prstGeom prst="rect">
            <a:avLst/>
          </a:prstGeom>
        </p:spPr>
        <p:txBody>
          <a:bodyPr lIns="0" tIns="0" rIns="0" bIns="0"/>
          <a:lstStyle>
            <a:lvl1pPr>
              <a:defRPr sz="1650" b="0">
                <a:solidFill>
                  <a:schemeClr val="accent2"/>
                </a:solidFill>
                <a:latin typeface="+mj-lt"/>
              </a:defRPr>
            </a:lvl1pPr>
          </a:lstStyle>
          <a:p>
            <a:r>
              <a:rPr lang="en-US"/>
              <a:t>Insert Date with 'Insert - Header &amp; Footer'</a:t>
            </a:r>
            <a:endParaRPr lang="en-GB" dirty="0"/>
          </a:p>
        </p:txBody>
      </p:sp>
      <p:sp>
        <p:nvSpPr>
          <p:cNvPr id="17" name="Analyst Title"/>
          <p:cNvSpPr>
            <a:spLocks noGrp="1"/>
          </p:cNvSpPr>
          <p:nvPr>
            <p:ph type="body" sz="quarter" idx="12" hasCustomPrompt="1"/>
          </p:nvPr>
        </p:nvSpPr>
        <p:spPr>
          <a:xfrm>
            <a:off x="338510" y="3165272"/>
            <a:ext cx="4320000" cy="232200"/>
          </a:xfrm>
          <a:prstGeom prst="rect">
            <a:avLst/>
          </a:prstGeom>
        </p:spPr>
        <p:txBody>
          <a:bodyPr/>
          <a:lstStyle>
            <a:lvl1pPr>
              <a:spcBef>
                <a:spcPts val="0"/>
              </a:spcBef>
              <a:spcAft>
                <a:spcPts val="0"/>
              </a:spcAft>
              <a:defRPr sz="1425" b="0">
                <a:solidFill>
                  <a:schemeClr val="bg1"/>
                </a:solidFill>
                <a:latin typeface="+mj-lt"/>
              </a:defRPr>
            </a:lvl1pPr>
            <a:lvl2pPr>
              <a:defRPr sz="1500" b="0">
                <a:solidFill>
                  <a:schemeClr val="bg1"/>
                </a:solidFill>
              </a:defRPr>
            </a:lvl2pPr>
            <a:lvl3pPr>
              <a:defRPr sz="1500" b="0">
                <a:solidFill>
                  <a:schemeClr val="bg1"/>
                </a:solidFill>
              </a:defRPr>
            </a:lvl3pPr>
            <a:lvl4pPr>
              <a:defRPr sz="1500" b="0">
                <a:solidFill>
                  <a:schemeClr val="bg1"/>
                </a:solidFill>
              </a:defRPr>
            </a:lvl4pPr>
            <a:lvl5pPr>
              <a:defRPr sz="1500" b="0">
                <a:solidFill>
                  <a:schemeClr val="bg1"/>
                </a:solidFill>
              </a:defRPr>
            </a:lvl5pPr>
            <a:lvl6pPr>
              <a:defRPr sz="1500" b="0">
                <a:solidFill>
                  <a:schemeClr val="bg1"/>
                </a:solidFill>
              </a:defRPr>
            </a:lvl6pPr>
            <a:lvl7pPr>
              <a:defRPr sz="1500" b="0">
                <a:solidFill>
                  <a:schemeClr val="bg1"/>
                </a:solidFill>
              </a:defRPr>
            </a:lvl7pPr>
            <a:lvl8pPr>
              <a:defRPr sz="1500" b="0">
                <a:solidFill>
                  <a:schemeClr val="bg1"/>
                </a:solidFill>
              </a:defRPr>
            </a:lvl8pPr>
            <a:lvl9pPr>
              <a:defRPr sz="1500" b="0">
                <a:solidFill>
                  <a:schemeClr val="bg1"/>
                </a:solidFill>
              </a:defRPr>
            </a:lvl9pPr>
          </a:lstStyle>
          <a:p>
            <a:pPr lvl="0"/>
            <a:r>
              <a:rPr lang="en-GB" dirty="0"/>
              <a:t>&lt;Title&gt;</a:t>
            </a:r>
          </a:p>
        </p:txBody>
      </p:sp>
      <p:sp>
        <p:nvSpPr>
          <p:cNvPr id="18" name="Analyst Email"/>
          <p:cNvSpPr>
            <a:spLocks noGrp="1"/>
          </p:cNvSpPr>
          <p:nvPr>
            <p:ph type="body" sz="quarter" idx="13" hasCustomPrompt="1"/>
          </p:nvPr>
        </p:nvSpPr>
        <p:spPr>
          <a:xfrm>
            <a:off x="338510" y="3418200"/>
            <a:ext cx="4320000" cy="232200"/>
          </a:xfrm>
          <a:prstGeom prst="rect">
            <a:avLst/>
          </a:prstGeom>
        </p:spPr>
        <p:txBody>
          <a:bodyPr/>
          <a:lstStyle>
            <a:lvl1pPr>
              <a:spcBef>
                <a:spcPts val="0"/>
              </a:spcBef>
              <a:spcAft>
                <a:spcPts val="0"/>
              </a:spcAft>
              <a:defRPr sz="1425" b="0">
                <a:solidFill>
                  <a:schemeClr val="bg1"/>
                </a:solidFill>
                <a:latin typeface="+mj-lt"/>
              </a:defRPr>
            </a:lvl1pPr>
            <a:lvl2pPr>
              <a:defRPr sz="1500" b="0">
                <a:solidFill>
                  <a:schemeClr val="bg1"/>
                </a:solidFill>
              </a:defRPr>
            </a:lvl2pPr>
            <a:lvl3pPr>
              <a:defRPr sz="1500" b="0">
                <a:solidFill>
                  <a:schemeClr val="bg1"/>
                </a:solidFill>
              </a:defRPr>
            </a:lvl3pPr>
            <a:lvl4pPr>
              <a:defRPr sz="1500" b="0">
                <a:solidFill>
                  <a:schemeClr val="bg1"/>
                </a:solidFill>
              </a:defRPr>
            </a:lvl4pPr>
            <a:lvl5pPr>
              <a:defRPr sz="1500" b="0">
                <a:solidFill>
                  <a:schemeClr val="bg1"/>
                </a:solidFill>
              </a:defRPr>
            </a:lvl5pPr>
            <a:lvl6pPr>
              <a:defRPr sz="1500" b="0">
                <a:solidFill>
                  <a:schemeClr val="bg1"/>
                </a:solidFill>
              </a:defRPr>
            </a:lvl6pPr>
            <a:lvl7pPr>
              <a:defRPr sz="1500" b="0">
                <a:solidFill>
                  <a:schemeClr val="bg1"/>
                </a:solidFill>
              </a:defRPr>
            </a:lvl7pPr>
            <a:lvl8pPr>
              <a:defRPr sz="1500" b="0">
                <a:solidFill>
                  <a:schemeClr val="bg1"/>
                </a:solidFill>
              </a:defRPr>
            </a:lvl8pPr>
            <a:lvl9pPr>
              <a:defRPr sz="1500" b="0">
                <a:solidFill>
                  <a:schemeClr val="bg1"/>
                </a:solidFill>
              </a:defRPr>
            </a:lvl9pPr>
          </a:lstStyle>
          <a:p>
            <a:pPr lvl="0"/>
            <a:r>
              <a:rPr lang="en-GB" dirty="0"/>
              <a:t>&lt;Email&gt;</a:t>
            </a:r>
          </a:p>
        </p:txBody>
      </p:sp>
      <p:sp>
        <p:nvSpPr>
          <p:cNvPr id="14" name="Analyst Name"/>
          <p:cNvSpPr>
            <a:spLocks noGrp="1"/>
          </p:cNvSpPr>
          <p:nvPr>
            <p:ph type="body" sz="quarter" idx="14" hasCustomPrompt="1"/>
          </p:nvPr>
        </p:nvSpPr>
        <p:spPr>
          <a:xfrm>
            <a:off x="338510" y="2909500"/>
            <a:ext cx="4320000" cy="232200"/>
          </a:xfrm>
          <a:prstGeom prst="rect">
            <a:avLst/>
          </a:prstGeom>
        </p:spPr>
        <p:txBody>
          <a:bodyPr/>
          <a:lstStyle>
            <a:lvl1pPr>
              <a:spcBef>
                <a:spcPts val="0"/>
              </a:spcBef>
              <a:spcAft>
                <a:spcPts val="0"/>
              </a:spcAft>
              <a:defRPr sz="1425" b="0" baseline="0">
                <a:solidFill>
                  <a:schemeClr val="bg1"/>
                </a:solidFill>
                <a:latin typeface="+mj-lt"/>
              </a:defRPr>
            </a:lvl1pPr>
            <a:lvl2pPr>
              <a:defRPr sz="1500" b="0">
                <a:solidFill>
                  <a:schemeClr val="bg1"/>
                </a:solidFill>
              </a:defRPr>
            </a:lvl2pPr>
            <a:lvl3pPr>
              <a:defRPr sz="1500" b="0">
                <a:solidFill>
                  <a:schemeClr val="bg1"/>
                </a:solidFill>
              </a:defRPr>
            </a:lvl3pPr>
            <a:lvl4pPr>
              <a:defRPr sz="1500" b="0">
                <a:solidFill>
                  <a:schemeClr val="bg1"/>
                </a:solidFill>
              </a:defRPr>
            </a:lvl4pPr>
            <a:lvl5pPr>
              <a:defRPr sz="1500" b="0">
                <a:solidFill>
                  <a:schemeClr val="bg1"/>
                </a:solidFill>
              </a:defRPr>
            </a:lvl5pPr>
            <a:lvl6pPr>
              <a:defRPr sz="1500" b="0">
                <a:solidFill>
                  <a:schemeClr val="bg1"/>
                </a:solidFill>
              </a:defRPr>
            </a:lvl6pPr>
            <a:lvl7pPr>
              <a:defRPr sz="1500" b="0">
                <a:solidFill>
                  <a:schemeClr val="bg1"/>
                </a:solidFill>
              </a:defRPr>
            </a:lvl7pPr>
            <a:lvl8pPr>
              <a:defRPr sz="1500" b="0">
                <a:solidFill>
                  <a:schemeClr val="bg1"/>
                </a:solidFill>
              </a:defRPr>
            </a:lvl8pPr>
            <a:lvl9pPr>
              <a:defRPr sz="1500" b="0">
                <a:solidFill>
                  <a:schemeClr val="bg1"/>
                </a:solidFill>
              </a:defRPr>
            </a:lvl9pPr>
          </a:lstStyle>
          <a:p>
            <a:pPr lvl="0"/>
            <a:r>
              <a:rPr lang="en-GB" dirty="0"/>
              <a:t>&lt;Analyst Name&gt;</a:t>
            </a:r>
          </a:p>
        </p:txBody>
      </p:sp>
      <p:sp>
        <p:nvSpPr>
          <p:cNvPr id="13" name="Prepared for"/>
          <p:cNvSpPr txBox="1"/>
          <p:nvPr userDrawn="1"/>
        </p:nvSpPr>
        <p:spPr>
          <a:xfrm>
            <a:off x="338509" y="1661052"/>
            <a:ext cx="2928938" cy="230833"/>
          </a:xfrm>
          <a:prstGeom prst="rect">
            <a:avLst/>
          </a:prstGeom>
          <a:noFill/>
        </p:spPr>
        <p:txBody>
          <a:bodyPr wrap="square" lIns="0" tIns="0" rIns="0" bIns="0" rtlCol="0">
            <a:noAutofit/>
          </a:bodyPr>
          <a:lstStyle/>
          <a:p>
            <a:r>
              <a:rPr lang="en-GB" sz="1425" b="0" noProof="0" dirty="0">
                <a:solidFill>
                  <a:schemeClr val="bg1"/>
                </a:solidFill>
                <a:latin typeface="+mj-lt"/>
              </a:rPr>
              <a:t>Prepared For:</a:t>
            </a:r>
          </a:p>
        </p:txBody>
      </p:sp>
      <p:sp>
        <p:nvSpPr>
          <p:cNvPr id="2" name="Title 1"/>
          <p:cNvSpPr>
            <a:spLocks noGrp="1"/>
          </p:cNvSpPr>
          <p:nvPr>
            <p:ph type="ctrTitle" hasCustomPrompt="1"/>
          </p:nvPr>
        </p:nvSpPr>
        <p:spPr bwMode="gray">
          <a:xfrm>
            <a:off x="338510" y="581403"/>
            <a:ext cx="8372700" cy="833098"/>
          </a:xfrm>
        </p:spPr>
        <p:txBody>
          <a:bodyPr anchor="t" anchorCtr="0"/>
          <a:lstStyle>
            <a:lvl1pPr algn="l">
              <a:lnSpc>
                <a:spcPts val="3000"/>
              </a:lnSpc>
              <a:defRPr sz="3000" b="1"/>
            </a:lvl1pPr>
          </a:lstStyle>
          <a:p>
            <a:r>
              <a:rPr lang="en-GB" noProof="0" dirty="0"/>
              <a:t>&lt;Presentation Title&gt;</a:t>
            </a:r>
          </a:p>
        </p:txBody>
      </p:sp>
    </p:spTree>
    <p:extLst>
      <p:ext uri="{BB962C8B-B14F-4D97-AF65-F5344CB8AC3E}">
        <p14:creationId xmlns:p14="http://schemas.microsoft.com/office/powerpoint/2010/main" val="143048068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2.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 Type="http://schemas.openxmlformats.org/officeDocument/2006/relationships/slideLayout" Target="../slideLayouts/slideLayout9.xml"/><Relationship Id="rId21" Type="http://schemas.openxmlformats.org/officeDocument/2006/relationships/theme" Target="../theme/theme3.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55000">
              <a:srgbClr val="1164AF"/>
            </a:gs>
            <a:gs pos="0">
              <a:srgbClr val="1267AE"/>
            </a:gs>
            <a:gs pos="100000">
              <a:srgbClr val="0A4474"/>
            </a:gs>
          </a:gsLst>
          <a:path path="circle">
            <a:fillToRect l="50000" t="50000" r="50000" b="50000"/>
          </a:path>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5094521"/>
      </p:ext>
    </p:extLst>
  </p:cSld>
  <p:clrMap bg1="lt1" tx1="dk1" bg2="lt2" tx2="dk2" accent1="accent1" accent2="accent2" accent3="accent3" accent4="accent4" accent5="accent5" accent6="accent6" hlink="hlink" folHlink="folHlink"/>
  <p:sldLayoutIdLst>
    <p:sldLayoutId id="2147483723" r:id="rId1"/>
    <p:sldLayoutId id="2147483725" r:id="rId2"/>
    <p:sldLayoutId id="2147483724" r:id="rId3"/>
    <p:sldLayoutId id="2147483750" r:id="rId4"/>
    <p:sldLayoutId id="2147483820" r:id="rId5"/>
  </p:sldLayoutIdLst>
  <p:hf hdr="0" ftr="0" dt="0"/>
  <p:txStyles>
    <p:titleStyle>
      <a:lvl1pPr algn="l" defTabSz="685658" rtl="0" eaLnBrk="1" latinLnBrk="0" hangingPunct="1">
        <a:spcBef>
          <a:spcPct val="0"/>
        </a:spcBef>
        <a:buNone/>
        <a:defRPr sz="2025" kern="1200">
          <a:solidFill>
            <a:schemeClr val="bg1"/>
          </a:solidFill>
          <a:latin typeface="Arial" pitchFamily="34" charset="0"/>
          <a:ea typeface="+mj-ea"/>
          <a:cs typeface="Arial" pitchFamily="34" charset="0"/>
        </a:defRPr>
      </a:lvl1pPr>
    </p:titleStyle>
    <p:bodyStyle>
      <a:lvl1pPr marL="257121" indent="-257121" algn="l" defTabSz="685658" rtl="0" eaLnBrk="1" latinLnBrk="0" hangingPunct="1">
        <a:spcBef>
          <a:spcPct val="20000"/>
        </a:spcBef>
        <a:buFont typeface="Arial" pitchFamily="34" charset="0"/>
        <a:buChar char="•"/>
        <a:defRPr sz="2025" kern="1200">
          <a:solidFill>
            <a:schemeClr val="bg1"/>
          </a:solidFill>
          <a:latin typeface="Arial" pitchFamily="34" charset="0"/>
          <a:ea typeface="+mn-ea"/>
          <a:cs typeface="Arial" pitchFamily="34" charset="0"/>
        </a:defRPr>
      </a:lvl1pPr>
      <a:lvl2pPr marL="557096" indent="-214268" algn="l" defTabSz="685658" rtl="0" eaLnBrk="1" latinLnBrk="0" hangingPunct="1">
        <a:spcBef>
          <a:spcPct val="20000"/>
        </a:spcBef>
        <a:buFont typeface="Arial" pitchFamily="34" charset="0"/>
        <a:buChar char="–"/>
        <a:defRPr sz="1800" kern="1200">
          <a:solidFill>
            <a:schemeClr val="bg1"/>
          </a:solidFill>
          <a:latin typeface="Arial" pitchFamily="34" charset="0"/>
          <a:ea typeface="+mn-ea"/>
          <a:cs typeface="Arial" pitchFamily="34" charset="0"/>
        </a:defRPr>
      </a:lvl2pPr>
      <a:lvl3pPr marL="857071" indent="-171414" algn="l" defTabSz="685658" rtl="0" eaLnBrk="1" latinLnBrk="0" hangingPunct="1">
        <a:spcBef>
          <a:spcPct val="20000"/>
        </a:spcBef>
        <a:buFont typeface="Arial" pitchFamily="34" charset="0"/>
        <a:buChar char="•"/>
        <a:defRPr sz="1349" kern="1200">
          <a:solidFill>
            <a:schemeClr val="bg1"/>
          </a:solidFill>
          <a:latin typeface="Arial" pitchFamily="34" charset="0"/>
          <a:ea typeface="+mn-ea"/>
          <a:cs typeface="Arial" pitchFamily="34" charset="0"/>
        </a:defRPr>
      </a:lvl3pPr>
      <a:lvl4pPr marL="1199900" indent="-171414" algn="l" defTabSz="685658" rtl="0" eaLnBrk="1" latinLnBrk="0" hangingPunct="1">
        <a:spcBef>
          <a:spcPct val="20000"/>
        </a:spcBef>
        <a:buFont typeface="Arial" pitchFamily="34" charset="0"/>
        <a:buChar char="–"/>
        <a:defRPr sz="1125" kern="1200">
          <a:solidFill>
            <a:schemeClr val="bg1"/>
          </a:solidFill>
          <a:latin typeface="Arial" pitchFamily="34" charset="0"/>
          <a:ea typeface="+mn-ea"/>
          <a:cs typeface="Arial" pitchFamily="34" charset="0"/>
        </a:defRPr>
      </a:lvl4pPr>
      <a:lvl5pPr marL="1542729" indent="-171414" algn="l" defTabSz="685658" rtl="0" eaLnBrk="1" latinLnBrk="0" hangingPunct="1">
        <a:spcBef>
          <a:spcPct val="20000"/>
        </a:spcBef>
        <a:buFont typeface="Arial" pitchFamily="34" charset="0"/>
        <a:buChar char="»"/>
        <a:defRPr sz="1125" kern="1200">
          <a:solidFill>
            <a:schemeClr val="bg1"/>
          </a:solidFill>
          <a:latin typeface="Arial" pitchFamily="34" charset="0"/>
          <a:ea typeface="+mn-ea"/>
          <a:cs typeface="Arial" pitchFamily="34" charset="0"/>
        </a:defRPr>
      </a:lvl5pPr>
      <a:lvl6pPr marL="1885557" indent="-171414" algn="l" defTabSz="685658" rtl="0" eaLnBrk="1" latinLnBrk="0" hangingPunct="1">
        <a:spcBef>
          <a:spcPct val="20000"/>
        </a:spcBef>
        <a:buFont typeface="Arial" pitchFamily="34" charset="0"/>
        <a:buChar char="•"/>
        <a:defRPr sz="1519" kern="1200">
          <a:solidFill>
            <a:schemeClr val="tx1"/>
          </a:solidFill>
          <a:latin typeface="+mn-lt"/>
          <a:ea typeface="+mn-ea"/>
          <a:cs typeface="+mn-cs"/>
        </a:defRPr>
      </a:lvl6pPr>
      <a:lvl7pPr marL="2228386" indent="-171414" algn="l" defTabSz="685658" rtl="0" eaLnBrk="1" latinLnBrk="0" hangingPunct="1">
        <a:spcBef>
          <a:spcPct val="20000"/>
        </a:spcBef>
        <a:buFont typeface="Arial" pitchFamily="34" charset="0"/>
        <a:buChar char="•"/>
        <a:defRPr sz="1519" kern="1200">
          <a:solidFill>
            <a:schemeClr val="tx1"/>
          </a:solidFill>
          <a:latin typeface="+mn-lt"/>
          <a:ea typeface="+mn-ea"/>
          <a:cs typeface="+mn-cs"/>
        </a:defRPr>
      </a:lvl7pPr>
      <a:lvl8pPr marL="2571214" indent="-171414" algn="l" defTabSz="685658" rtl="0" eaLnBrk="1" latinLnBrk="0" hangingPunct="1">
        <a:spcBef>
          <a:spcPct val="20000"/>
        </a:spcBef>
        <a:buFont typeface="Arial" pitchFamily="34" charset="0"/>
        <a:buChar char="•"/>
        <a:defRPr sz="1519" kern="1200">
          <a:solidFill>
            <a:schemeClr val="tx1"/>
          </a:solidFill>
          <a:latin typeface="+mn-lt"/>
          <a:ea typeface="+mn-ea"/>
          <a:cs typeface="+mn-cs"/>
        </a:defRPr>
      </a:lvl8pPr>
      <a:lvl9pPr marL="2914043" indent="-171414" algn="l" defTabSz="685658" rtl="0" eaLnBrk="1" latinLnBrk="0" hangingPunct="1">
        <a:spcBef>
          <a:spcPct val="20000"/>
        </a:spcBef>
        <a:buFont typeface="Arial" pitchFamily="34" charset="0"/>
        <a:buChar char="•"/>
        <a:defRPr sz="1519" kern="1200">
          <a:solidFill>
            <a:schemeClr val="tx1"/>
          </a:solidFill>
          <a:latin typeface="+mn-lt"/>
          <a:ea typeface="+mn-ea"/>
          <a:cs typeface="+mn-cs"/>
        </a:defRPr>
      </a:lvl9pPr>
    </p:bodyStyle>
    <p:otherStyle>
      <a:defPPr>
        <a:defRPr lang="en-US"/>
      </a:defPPr>
      <a:lvl1pPr marL="0" algn="l" defTabSz="685658" rtl="0" eaLnBrk="1" latinLnBrk="0" hangingPunct="1">
        <a:defRPr sz="1349" kern="1200">
          <a:solidFill>
            <a:schemeClr val="tx1"/>
          </a:solidFill>
          <a:latin typeface="+mn-lt"/>
          <a:ea typeface="+mn-ea"/>
          <a:cs typeface="+mn-cs"/>
        </a:defRPr>
      </a:lvl1pPr>
      <a:lvl2pPr marL="342829" algn="l" defTabSz="685658" rtl="0" eaLnBrk="1" latinLnBrk="0" hangingPunct="1">
        <a:defRPr sz="1349" kern="1200">
          <a:solidFill>
            <a:schemeClr val="tx1"/>
          </a:solidFill>
          <a:latin typeface="+mn-lt"/>
          <a:ea typeface="+mn-ea"/>
          <a:cs typeface="+mn-cs"/>
        </a:defRPr>
      </a:lvl2pPr>
      <a:lvl3pPr marL="685658" algn="l" defTabSz="685658" rtl="0" eaLnBrk="1" latinLnBrk="0" hangingPunct="1">
        <a:defRPr sz="1349" kern="1200">
          <a:solidFill>
            <a:schemeClr val="tx1"/>
          </a:solidFill>
          <a:latin typeface="+mn-lt"/>
          <a:ea typeface="+mn-ea"/>
          <a:cs typeface="+mn-cs"/>
        </a:defRPr>
      </a:lvl3pPr>
      <a:lvl4pPr marL="1028486" algn="l" defTabSz="685658" rtl="0" eaLnBrk="1" latinLnBrk="0" hangingPunct="1">
        <a:defRPr sz="1349" kern="1200">
          <a:solidFill>
            <a:schemeClr val="tx1"/>
          </a:solidFill>
          <a:latin typeface="+mn-lt"/>
          <a:ea typeface="+mn-ea"/>
          <a:cs typeface="+mn-cs"/>
        </a:defRPr>
      </a:lvl4pPr>
      <a:lvl5pPr marL="1371314" algn="l" defTabSz="685658" rtl="0" eaLnBrk="1" latinLnBrk="0" hangingPunct="1">
        <a:defRPr sz="1349" kern="1200">
          <a:solidFill>
            <a:schemeClr val="tx1"/>
          </a:solidFill>
          <a:latin typeface="+mn-lt"/>
          <a:ea typeface="+mn-ea"/>
          <a:cs typeface="+mn-cs"/>
        </a:defRPr>
      </a:lvl5pPr>
      <a:lvl6pPr marL="1714143" algn="l" defTabSz="685658" rtl="0" eaLnBrk="1" latinLnBrk="0" hangingPunct="1">
        <a:defRPr sz="1349" kern="1200">
          <a:solidFill>
            <a:schemeClr val="tx1"/>
          </a:solidFill>
          <a:latin typeface="+mn-lt"/>
          <a:ea typeface="+mn-ea"/>
          <a:cs typeface="+mn-cs"/>
        </a:defRPr>
      </a:lvl6pPr>
      <a:lvl7pPr marL="2056971" algn="l" defTabSz="685658" rtl="0" eaLnBrk="1" latinLnBrk="0" hangingPunct="1">
        <a:defRPr sz="1349" kern="1200">
          <a:solidFill>
            <a:schemeClr val="tx1"/>
          </a:solidFill>
          <a:latin typeface="+mn-lt"/>
          <a:ea typeface="+mn-ea"/>
          <a:cs typeface="+mn-cs"/>
        </a:defRPr>
      </a:lvl7pPr>
      <a:lvl8pPr marL="2399800" algn="l" defTabSz="685658" rtl="0" eaLnBrk="1" latinLnBrk="0" hangingPunct="1">
        <a:defRPr sz="1349" kern="1200">
          <a:solidFill>
            <a:schemeClr val="tx1"/>
          </a:solidFill>
          <a:latin typeface="+mn-lt"/>
          <a:ea typeface="+mn-ea"/>
          <a:cs typeface="+mn-cs"/>
        </a:defRPr>
      </a:lvl8pPr>
      <a:lvl9pPr marL="2742629" algn="l" defTabSz="685658" rtl="0" eaLnBrk="1" latinLnBrk="0" hangingPunct="1">
        <a:defRPr sz="134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a:gsLst>
            <a:gs pos="81000">
              <a:srgbClr val="EEEEEE"/>
            </a:gs>
            <a:gs pos="0">
              <a:schemeClr val="bg1"/>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 y="381465"/>
            <a:ext cx="8892540" cy="533311"/>
          </a:xfrm>
          <a:prstGeom prst="rect">
            <a:avLst/>
          </a:prstGeom>
        </p:spPr>
        <p:txBody>
          <a:bodyPr vert="horz" lIns="121899" tIns="60949" rIns="121899" bIns="60949" rtlCol="0" anchor="ctr">
            <a:normAutofit/>
          </a:bodyPr>
          <a:lstStyle/>
          <a:p>
            <a:r>
              <a:rPr lang="en-US" dirty="0"/>
              <a:t>Click to edit Master title style</a:t>
            </a:r>
          </a:p>
        </p:txBody>
      </p:sp>
      <p:sp>
        <p:nvSpPr>
          <p:cNvPr id="3" name="Text Placeholder 2"/>
          <p:cNvSpPr>
            <a:spLocks noGrp="1"/>
          </p:cNvSpPr>
          <p:nvPr>
            <p:ph type="body" idx="1"/>
          </p:nvPr>
        </p:nvSpPr>
        <p:spPr>
          <a:xfrm>
            <a:off x="76200" y="1029302"/>
            <a:ext cx="8892540" cy="3611279"/>
          </a:xfrm>
          <a:prstGeom prst="rect">
            <a:avLst/>
          </a:prstGeom>
        </p:spPr>
        <p:txBody>
          <a:bodyPr vert="horz" lIns="121899" tIns="60949" rIns="121899" bIns="60949" rtlCol="0">
            <a:noAutofit/>
          </a:bodyPr>
          <a:lstStyle/>
          <a:p>
            <a:pPr lvl="0"/>
            <a:r>
              <a:rPr lang="en-US" altLang="zh-CN" dirty="0"/>
              <a:t>Click to 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p>
        </p:txBody>
      </p:sp>
      <p:sp>
        <p:nvSpPr>
          <p:cNvPr id="11" name="Rectangle 10"/>
          <p:cNvSpPr/>
          <p:nvPr userDrawn="1"/>
        </p:nvSpPr>
        <p:spPr>
          <a:xfrm>
            <a:off x="1" y="46758"/>
            <a:ext cx="9144000" cy="296142"/>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endParaRPr lang="en-US" sz="1349" dirty="0">
              <a:solidFill>
                <a:prstClr val="white"/>
              </a:solidFill>
            </a:endParaRPr>
          </a:p>
        </p:txBody>
      </p:sp>
      <p:sp>
        <p:nvSpPr>
          <p:cNvPr id="12" name="Rectangle 11"/>
          <p:cNvSpPr/>
          <p:nvPr userDrawn="1"/>
        </p:nvSpPr>
        <p:spPr>
          <a:xfrm>
            <a:off x="1" y="-14287"/>
            <a:ext cx="9144000" cy="80453"/>
          </a:xfrm>
          <a:prstGeom prst="rect">
            <a:avLst/>
          </a:prstGeom>
          <a:solidFill>
            <a:srgbClr val="0069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endParaRPr lang="en-US" sz="1349" dirty="0">
              <a:solidFill>
                <a:prstClr val="white"/>
              </a:solidFill>
            </a:endParaRPr>
          </a:p>
        </p:txBody>
      </p:sp>
      <p:sp>
        <p:nvSpPr>
          <p:cNvPr id="13" name="Slide Number Placeholder 3"/>
          <p:cNvSpPr txBox="1">
            <a:spLocks/>
          </p:cNvSpPr>
          <p:nvPr userDrawn="1"/>
        </p:nvSpPr>
        <p:spPr>
          <a:xfrm>
            <a:off x="8637270" y="74991"/>
            <a:ext cx="506730" cy="205740"/>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DF52EC2-2C0B-4C03-9888-0B25156ED88D}" type="slidenum">
              <a:rPr lang="en-US" sz="1050" b="1" smtClean="0">
                <a:solidFill>
                  <a:prstClr val="white"/>
                </a:solidFill>
                <a:latin typeface="+mj-lt"/>
              </a:rPr>
              <a:pPr algn="r"/>
              <a:t>‹#›</a:t>
            </a:fld>
            <a:endParaRPr lang="en-US" sz="1050" b="1" dirty="0">
              <a:solidFill>
                <a:prstClr val="white"/>
              </a:solidFill>
              <a:latin typeface="+mj-lt"/>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99810" y="96092"/>
            <a:ext cx="852275" cy="205740"/>
          </a:xfrm>
          <a:prstGeom prst="rect">
            <a:avLst/>
          </a:prstGeom>
        </p:spPr>
      </p:pic>
      <p:sp>
        <p:nvSpPr>
          <p:cNvPr id="14" name="Text Placeholder 2"/>
          <p:cNvSpPr txBox="1">
            <a:spLocks/>
          </p:cNvSpPr>
          <p:nvPr userDrawn="1"/>
        </p:nvSpPr>
        <p:spPr>
          <a:xfrm>
            <a:off x="3176017" y="4844007"/>
            <a:ext cx="2791968" cy="322485"/>
          </a:xfrm>
          <a:prstGeom prst="rect">
            <a:avLst/>
          </a:prstGeom>
        </p:spPr>
        <p:txBody>
          <a:bodyPr vert="horz" lIns="121899" tIns="60949" rIns="121899" bIns="60949" rtlCol="0" anchor="ctr">
            <a:normAutofit/>
          </a:bodyPr>
          <a:lstStyle>
            <a:lvl1pPr marL="0" indent="0" algn="l" defTabSz="685863" rtl="0" eaLnBrk="1" latinLnBrk="0" hangingPunct="1">
              <a:spcBef>
                <a:spcPct val="20000"/>
              </a:spcBef>
              <a:buFont typeface="Wingdings" panose="05000000000000000000" pitchFamily="2" charset="2"/>
              <a:buNone/>
              <a:defRPr sz="1200" kern="1200">
                <a:solidFill>
                  <a:schemeClr val="tx1"/>
                </a:solidFill>
                <a:latin typeface="+mj-lt"/>
                <a:ea typeface="+mn-ea"/>
                <a:cs typeface="+mn-cs"/>
              </a:defRPr>
            </a:lvl1pPr>
            <a:lvl2pPr marL="129779" indent="-129779" algn="l" defTabSz="685863" rtl="0" eaLnBrk="1" latinLnBrk="0" hangingPunct="1">
              <a:spcBef>
                <a:spcPct val="20000"/>
              </a:spcBef>
              <a:buFont typeface="Wingdings" panose="05000000000000000000" pitchFamily="2" charset="2"/>
              <a:buChar char="§"/>
              <a:defRPr sz="1200" kern="1200">
                <a:solidFill>
                  <a:schemeClr val="tx1"/>
                </a:solidFill>
                <a:latin typeface="+mj-lt"/>
                <a:ea typeface="+mn-ea"/>
                <a:cs typeface="+mn-cs"/>
              </a:defRPr>
            </a:lvl2pPr>
            <a:lvl3pPr marL="259556" indent="-129779" algn="l" defTabSz="685863" rtl="0" eaLnBrk="1" latinLnBrk="0" hangingPunct="1">
              <a:spcBef>
                <a:spcPct val="20000"/>
              </a:spcBef>
              <a:buFont typeface="Calibri" panose="020F0502020204030204" pitchFamily="34" charset="0"/>
              <a:buChar char="‒"/>
              <a:defRPr sz="1200" kern="1200">
                <a:solidFill>
                  <a:schemeClr val="tx1"/>
                </a:solidFill>
                <a:latin typeface="+mj-lt"/>
                <a:ea typeface="+mn-ea"/>
                <a:cs typeface="+mn-cs"/>
              </a:defRPr>
            </a:lvl3pPr>
            <a:lvl4pPr marL="388144" indent="-128588" algn="l" defTabSz="685863" rtl="0" eaLnBrk="1" latinLnBrk="0" hangingPunct="1">
              <a:spcBef>
                <a:spcPct val="20000"/>
              </a:spcBef>
              <a:buFont typeface="Calibri" panose="020F0502020204030204" pitchFamily="34" charset="0"/>
              <a:buChar char="▫"/>
              <a:defRPr sz="1200" kern="1200">
                <a:solidFill>
                  <a:schemeClr val="tx1"/>
                </a:solidFill>
                <a:latin typeface="+mj-lt"/>
                <a:ea typeface="+mn-ea"/>
                <a:cs typeface="+mn-cs"/>
              </a:defRPr>
            </a:lvl4pPr>
            <a:lvl5pPr marL="517922" indent="-129779" algn="l" defTabSz="685863" rtl="0" eaLnBrk="1" latinLnBrk="0" hangingPunct="1">
              <a:spcBef>
                <a:spcPct val="20000"/>
              </a:spcBef>
              <a:buFont typeface="Calibri" panose="020F0502020204030204" pitchFamily="34" charset="0"/>
              <a:buChar char="‐"/>
              <a:defRPr sz="1200" kern="1200">
                <a:solidFill>
                  <a:schemeClr val="tx1"/>
                </a:solidFill>
                <a:latin typeface="+mj-lt"/>
                <a:ea typeface="+mn-ea"/>
                <a:cs typeface="+mn-cs"/>
              </a:defRPr>
            </a:lvl5pPr>
            <a:lvl6pPr marL="1886123" indent="-171466" algn="l" defTabSz="685863" rtl="0" eaLnBrk="1" latinLnBrk="0" hangingPunct="1">
              <a:spcBef>
                <a:spcPct val="20000"/>
              </a:spcBef>
              <a:buFont typeface="Arial" pitchFamily="34" charset="0"/>
              <a:buChar char="•"/>
              <a:defRPr sz="1520" kern="1200">
                <a:solidFill>
                  <a:schemeClr val="tx1"/>
                </a:solidFill>
                <a:latin typeface="+mn-lt"/>
                <a:ea typeface="+mn-ea"/>
                <a:cs typeface="+mn-cs"/>
              </a:defRPr>
            </a:lvl6pPr>
            <a:lvl7pPr marL="2229055" indent="-171466" algn="l" defTabSz="685863" rtl="0" eaLnBrk="1" latinLnBrk="0" hangingPunct="1">
              <a:spcBef>
                <a:spcPct val="20000"/>
              </a:spcBef>
              <a:buFont typeface="Arial" pitchFamily="34" charset="0"/>
              <a:buChar char="•"/>
              <a:defRPr sz="1520" kern="1200">
                <a:solidFill>
                  <a:schemeClr val="tx1"/>
                </a:solidFill>
                <a:latin typeface="+mn-lt"/>
                <a:ea typeface="+mn-ea"/>
                <a:cs typeface="+mn-cs"/>
              </a:defRPr>
            </a:lvl7pPr>
            <a:lvl8pPr marL="2571986" indent="-171466" algn="l" defTabSz="685863" rtl="0" eaLnBrk="1" latinLnBrk="0" hangingPunct="1">
              <a:spcBef>
                <a:spcPct val="20000"/>
              </a:spcBef>
              <a:buFont typeface="Arial" pitchFamily="34" charset="0"/>
              <a:buChar char="•"/>
              <a:defRPr sz="1520" kern="1200">
                <a:solidFill>
                  <a:schemeClr val="tx1"/>
                </a:solidFill>
                <a:latin typeface="+mn-lt"/>
                <a:ea typeface="+mn-ea"/>
                <a:cs typeface="+mn-cs"/>
              </a:defRPr>
            </a:lvl8pPr>
            <a:lvl9pPr marL="2914917" indent="-171466" algn="l" defTabSz="685863" rtl="0" eaLnBrk="1" latinLnBrk="0" hangingPunct="1">
              <a:spcBef>
                <a:spcPct val="20000"/>
              </a:spcBef>
              <a:buFont typeface="Arial" pitchFamily="34" charset="0"/>
              <a:buChar char="•"/>
              <a:defRPr sz="1520" kern="1200">
                <a:solidFill>
                  <a:schemeClr val="tx1"/>
                </a:solidFill>
                <a:latin typeface="+mn-lt"/>
                <a:ea typeface="+mn-ea"/>
                <a:cs typeface="+mn-cs"/>
              </a:defRPr>
            </a:lvl9pPr>
          </a:lstStyle>
          <a:p>
            <a:pPr algn="ctr"/>
            <a:r>
              <a:rPr lang="en-US" altLang="zh-CN" sz="1050" dirty="0">
                <a:solidFill>
                  <a:schemeClr val="tx1">
                    <a:lumMod val="50000"/>
                    <a:lumOff val="50000"/>
                  </a:schemeClr>
                </a:solidFill>
              </a:rPr>
              <a:t>NYPA Strategy – Privileged &amp; Confidential</a:t>
            </a:r>
          </a:p>
        </p:txBody>
      </p:sp>
    </p:spTree>
    <p:extLst>
      <p:ext uri="{BB962C8B-B14F-4D97-AF65-F5344CB8AC3E}">
        <p14:creationId xmlns:p14="http://schemas.microsoft.com/office/powerpoint/2010/main" val="3072420704"/>
      </p:ext>
    </p:extLst>
  </p:cSld>
  <p:clrMap bg1="lt1" tx1="dk1" bg2="lt2" tx2="dk2" accent1="accent1" accent2="accent2" accent3="accent3" accent4="accent4" accent5="accent5" accent6="accent6" hlink="hlink" folHlink="folHlink"/>
  <p:sldLayoutIdLst>
    <p:sldLayoutId id="2147483727" r:id="rId1"/>
  </p:sldLayoutIdLst>
  <p:hf hdr="0" ftr="0" dt="0"/>
  <p:txStyles>
    <p:titleStyle>
      <a:lvl1pPr algn="l" defTabSz="685863" rtl="0" eaLnBrk="1" latinLnBrk="0" hangingPunct="1">
        <a:spcBef>
          <a:spcPct val="0"/>
        </a:spcBef>
        <a:buNone/>
        <a:defRPr sz="2026" b="1" kern="1200">
          <a:solidFill>
            <a:schemeClr val="tx2"/>
          </a:solidFill>
          <a:latin typeface="+mj-lt"/>
          <a:ea typeface="+mj-ea"/>
          <a:cs typeface="+mj-cs"/>
        </a:defRPr>
      </a:lvl1pPr>
    </p:titleStyle>
    <p:bodyStyle>
      <a:lvl1pPr marL="0" indent="0" algn="l" defTabSz="685863" rtl="0" eaLnBrk="1" latinLnBrk="0" hangingPunct="1">
        <a:spcBef>
          <a:spcPct val="20000"/>
        </a:spcBef>
        <a:buFont typeface="Wingdings" panose="05000000000000000000" pitchFamily="2" charset="2"/>
        <a:buNone/>
        <a:defRPr sz="1200" kern="1200">
          <a:solidFill>
            <a:schemeClr val="tx1"/>
          </a:solidFill>
          <a:latin typeface="+mj-lt"/>
          <a:ea typeface="+mn-ea"/>
          <a:cs typeface="+mn-cs"/>
        </a:defRPr>
      </a:lvl1pPr>
      <a:lvl2pPr marL="129779" indent="-129779" algn="l" defTabSz="685863" rtl="0" eaLnBrk="1" latinLnBrk="0" hangingPunct="1">
        <a:spcBef>
          <a:spcPct val="20000"/>
        </a:spcBef>
        <a:buSzPct val="150000"/>
        <a:buFont typeface="Arial" panose="020B0604020202020204" pitchFamily="34" charset="0"/>
        <a:buChar char="•"/>
        <a:defRPr sz="1200" kern="1200">
          <a:solidFill>
            <a:schemeClr val="tx1"/>
          </a:solidFill>
          <a:latin typeface="+mj-lt"/>
          <a:ea typeface="+mn-ea"/>
          <a:cs typeface="+mn-cs"/>
        </a:defRPr>
      </a:lvl2pPr>
      <a:lvl3pPr marL="259556" indent="-129779" algn="l" defTabSz="685863" rtl="0" eaLnBrk="1" latinLnBrk="0" hangingPunct="1">
        <a:spcBef>
          <a:spcPct val="20000"/>
        </a:spcBef>
        <a:buSzPct val="90000"/>
        <a:buFont typeface="Courier New" panose="02070309020205020404" pitchFamily="49" charset="0"/>
        <a:buChar char="o"/>
        <a:defRPr sz="1200" kern="1200">
          <a:solidFill>
            <a:schemeClr val="tx1"/>
          </a:solidFill>
          <a:latin typeface="+mj-lt"/>
          <a:ea typeface="+mn-ea"/>
          <a:cs typeface="+mn-cs"/>
        </a:defRPr>
      </a:lvl3pPr>
      <a:lvl4pPr marL="388144" indent="-128588" algn="l" defTabSz="685863" rtl="0" eaLnBrk="1" latinLnBrk="0" hangingPunct="1">
        <a:spcBef>
          <a:spcPct val="20000"/>
        </a:spcBef>
        <a:buFont typeface="Calibri" panose="020F0502020204030204" pitchFamily="34" charset="0"/>
        <a:buChar char="–"/>
        <a:defRPr sz="1200" kern="1200">
          <a:solidFill>
            <a:schemeClr val="tx1"/>
          </a:solidFill>
          <a:latin typeface="+mj-lt"/>
          <a:ea typeface="+mn-ea"/>
          <a:cs typeface="+mn-cs"/>
        </a:defRPr>
      </a:lvl4pPr>
      <a:lvl5pPr marL="517922" indent="-129779" algn="l" defTabSz="685863" rtl="0" eaLnBrk="1" latinLnBrk="0" hangingPunct="1">
        <a:spcBef>
          <a:spcPct val="20000"/>
        </a:spcBef>
        <a:buFont typeface="Wingdings" panose="05000000000000000000" pitchFamily="2" charset="2"/>
        <a:buChar char="§"/>
        <a:defRPr sz="1200" kern="1200">
          <a:solidFill>
            <a:schemeClr val="tx1"/>
          </a:solidFill>
          <a:latin typeface="+mj-lt"/>
          <a:ea typeface="+mn-ea"/>
          <a:cs typeface="+mn-cs"/>
        </a:defRPr>
      </a:lvl5pPr>
      <a:lvl6pPr marL="1886123" indent="-171466" algn="l" defTabSz="685863" rtl="0" eaLnBrk="1" latinLnBrk="0" hangingPunct="1">
        <a:spcBef>
          <a:spcPct val="20000"/>
        </a:spcBef>
        <a:buFont typeface="Arial" pitchFamily="34" charset="0"/>
        <a:buChar char="•"/>
        <a:defRPr sz="1520" kern="1200">
          <a:solidFill>
            <a:schemeClr val="tx1"/>
          </a:solidFill>
          <a:latin typeface="+mn-lt"/>
          <a:ea typeface="+mn-ea"/>
          <a:cs typeface="+mn-cs"/>
        </a:defRPr>
      </a:lvl6pPr>
      <a:lvl7pPr marL="2229055" indent="-171466" algn="l" defTabSz="685863" rtl="0" eaLnBrk="1" latinLnBrk="0" hangingPunct="1">
        <a:spcBef>
          <a:spcPct val="20000"/>
        </a:spcBef>
        <a:buFont typeface="Arial" pitchFamily="34" charset="0"/>
        <a:buChar char="•"/>
        <a:defRPr sz="1520" kern="1200">
          <a:solidFill>
            <a:schemeClr val="tx1"/>
          </a:solidFill>
          <a:latin typeface="+mn-lt"/>
          <a:ea typeface="+mn-ea"/>
          <a:cs typeface="+mn-cs"/>
        </a:defRPr>
      </a:lvl7pPr>
      <a:lvl8pPr marL="2571986" indent="-171466" algn="l" defTabSz="685863" rtl="0" eaLnBrk="1" latinLnBrk="0" hangingPunct="1">
        <a:spcBef>
          <a:spcPct val="20000"/>
        </a:spcBef>
        <a:buFont typeface="Arial" pitchFamily="34" charset="0"/>
        <a:buChar char="•"/>
        <a:defRPr sz="1520" kern="1200">
          <a:solidFill>
            <a:schemeClr val="tx1"/>
          </a:solidFill>
          <a:latin typeface="+mn-lt"/>
          <a:ea typeface="+mn-ea"/>
          <a:cs typeface="+mn-cs"/>
        </a:defRPr>
      </a:lvl8pPr>
      <a:lvl9pPr marL="2914917" indent="-171466" algn="l" defTabSz="685863" rtl="0" eaLnBrk="1" latinLnBrk="0" hangingPunct="1">
        <a:spcBef>
          <a:spcPct val="20000"/>
        </a:spcBef>
        <a:buFont typeface="Arial" pitchFamily="34" charset="0"/>
        <a:buChar char="•"/>
        <a:defRPr sz="1520" kern="1200">
          <a:solidFill>
            <a:schemeClr val="tx1"/>
          </a:solidFill>
          <a:latin typeface="+mn-lt"/>
          <a:ea typeface="+mn-ea"/>
          <a:cs typeface="+mn-cs"/>
        </a:defRPr>
      </a:lvl9pPr>
    </p:bodyStyle>
    <p:otherStyle>
      <a:defPPr>
        <a:defRPr lang="en-US"/>
      </a:defPPr>
      <a:lvl1pPr marL="0" algn="l" defTabSz="685863" rtl="0" eaLnBrk="1" latinLnBrk="0" hangingPunct="1">
        <a:defRPr sz="1350" kern="1200">
          <a:solidFill>
            <a:schemeClr val="tx1"/>
          </a:solidFill>
          <a:latin typeface="+mn-lt"/>
          <a:ea typeface="+mn-ea"/>
          <a:cs typeface="+mn-cs"/>
        </a:defRPr>
      </a:lvl1pPr>
      <a:lvl2pPr marL="342932" algn="l" defTabSz="685863" rtl="0" eaLnBrk="1" latinLnBrk="0" hangingPunct="1">
        <a:defRPr sz="1350" kern="1200">
          <a:solidFill>
            <a:schemeClr val="tx1"/>
          </a:solidFill>
          <a:latin typeface="+mn-lt"/>
          <a:ea typeface="+mn-ea"/>
          <a:cs typeface="+mn-cs"/>
        </a:defRPr>
      </a:lvl2pPr>
      <a:lvl3pPr marL="685863" algn="l" defTabSz="685863" rtl="0" eaLnBrk="1" latinLnBrk="0" hangingPunct="1">
        <a:defRPr sz="1350" kern="1200">
          <a:solidFill>
            <a:schemeClr val="tx1"/>
          </a:solidFill>
          <a:latin typeface="+mn-lt"/>
          <a:ea typeface="+mn-ea"/>
          <a:cs typeface="+mn-cs"/>
        </a:defRPr>
      </a:lvl3pPr>
      <a:lvl4pPr marL="1028795" algn="l" defTabSz="685863" rtl="0" eaLnBrk="1" latinLnBrk="0" hangingPunct="1">
        <a:defRPr sz="1350" kern="1200">
          <a:solidFill>
            <a:schemeClr val="tx1"/>
          </a:solidFill>
          <a:latin typeface="+mn-lt"/>
          <a:ea typeface="+mn-ea"/>
          <a:cs typeface="+mn-cs"/>
        </a:defRPr>
      </a:lvl4pPr>
      <a:lvl5pPr marL="1371725" algn="l" defTabSz="685863" rtl="0" eaLnBrk="1" latinLnBrk="0" hangingPunct="1">
        <a:defRPr sz="1350" kern="1200">
          <a:solidFill>
            <a:schemeClr val="tx1"/>
          </a:solidFill>
          <a:latin typeface="+mn-lt"/>
          <a:ea typeface="+mn-ea"/>
          <a:cs typeface="+mn-cs"/>
        </a:defRPr>
      </a:lvl5pPr>
      <a:lvl6pPr marL="1714658" algn="l" defTabSz="685863" rtl="0" eaLnBrk="1" latinLnBrk="0" hangingPunct="1">
        <a:defRPr sz="1350" kern="1200">
          <a:solidFill>
            <a:schemeClr val="tx1"/>
          </a:solidFill>
          <a:latin typeface="+mn-lt"/>
          <a:ea typeface="+mn-ea"/>
          <a:cs typeface="+mn-cs"/>
        </a:defRPr>
      </a:lvl6pPr>
      <a:lvl7pPr marL="2057588" algn="l" defTabSz="685863" rtl="0" eaLnBrk="1" latinLnBrk="0" hangingPunct="1">
        <a:defRPr sz="1350" kern="1200">
          <a:solidFill>
            <a:schemeClr val="tx1"/>
          </a:solidFill>
          <a:latin typeface="+mn-lt"/>
          <a:ea typeface="+mn-ea"/>
          <a:cs typeface="+mn-cs"/>
        </a:defRPr>
      </a:lvl7pPr>
      <a:lvl8pPr marL="2400520" algn="l" defTabSz="685863" rtl="0" eaLnBrk="1" latinLnBrk="0" hangingPunct="1">
        <a:defRPr sz="1350" kern="1200">
          <a:solidFill>
            <a:schemeClr val="tx1"/>
          </a:solidFill>
          <a:latin typeface="+mn-lt"/>
          <a:ea typeface="+mn-ea"/>
          <a:cs typeface="+mn-cs"/>
        </a:defRPr>
      </a:lvl8pPr>
      <a:lvl9pPr marL="2743451" algn="l" defTabSz="68586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a:xfrm>
            <a:off x="0" y="4815508"/>
            <a:ext cx="9144900" cy="330524"/>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a:endParaRPr lang="en-GB" sz="1013" noProof="0" dirty="0"/>
          </a:p>
        </p:txBody>
      </p:sp>
      <p:grpSp>
        <p:nvGrpSpPr>
          <p:cNvPr id="12" name="Group 11"/>
          <p:cNvGrpSpPr/>
          <p:nvPr userDrawn="1"/>
        </p:nvGrpSpPr>
        <p:grpSpPr>
          <a:xfrm>
            <a:off x="0" y="1"/>
            <a:ext cx="9144900" cy="683099"/>
            <a:chOff x="0" y="1"/>
            <a:chExt cx="12193200" cy="910799"/>
          </a:xfrm>
          <a:solidFill>
            <a:schemeClr val="accent1"/>
          </a:solidFill>
        </p:grpSpPr>
        <p:sp>
          <p:nvSpPr>
            <p:cNvPr id="10" name="Rectangle 9"/>
            <p:cNvSpPr/>
            <p:nvPr userDrawn="1"/>
          </p:nvSpPr>
          <p:spPr>
            <a:xfrm>
              <a:off x="0" y="1"/>
              <a:ext cx="12193200" cy="162000"/>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13" noProof="0" dirty="0"/>
            </a:p>
          </p:txBody>
        </p:sp>
        <p:sp>
          <p:nvSpPr>
            <p:cNvPr id="11" name="Rectangle 10"/>
            <p:cNvSpPr/>
            <p:nvPr userDrawn="1"/>
          </p:nvSpPr>
          <p:spPr>
            <a:xfrm>
              <a:off x="0" y="144000"/>
              <a:ext cx="12193200" cy="7668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13" noProof="0" dirty="0"/>
            </a:p>
          </p:txBody>
        </p:sp>
      </p:grpSp>
      <p:pic>
        <p:nvPicPr>
          <p:cNvPr id="16" name="Picture 15"/>
          <p:cNvPicPr>
            <a:picLocks noChangeAspect="1"/>
          </p:cNvPicPr>
          <p:nvPr userDrawn="1"/>
        </p:nvPicPr>
        <p:blipFill>
          <a:blip r:embed="rId22"/>
          <a:stretch>
            <a:fillRect/>
          </a:stretch>
        </p:blipFill>
        <p:spPr>
          <a:xfrm>
            <a:off x="7668409" y="4919016"/>
            <a:ext cx="850210" cy="144641"/>
          </a:xfrm>
          <a:prstGeom prst="rect">
            <a:avLst/>
          </a:prstGeom>
        </p:spPr>
      </p:pic>
      <p:sp>
        <p:nvSpPr>
          <p:cNvPr id="32" name="ctsSlideNumber"/>
          <p:cNvSpPr txBox="1"/>
          <p:nvPr userDrawn="1"/>
        </p:nvSpPr>
        <p:spPr>
          <a:xfrm>
            <a:off x="8567100" y="4841100"/>
            <a:ext cx="226800" cy="275400"/>
          </a:xfrm>
          <a:prstGeom prst="rect">
            <a:avLst/>
          </a:prstGeom>
          <a:noFill/>
        </p:spPr>
        <p:txBody>
          <a:bodyPr wrap="square" lIns="0" tIns="0" rIns="0" bIns="0" rtlCol="0" anchor="ctr" anchorCtr="0">
            <a:noAutofit/>
          </a:bodyPr>
          <a:lstStyle/>
          <a:p>
            <a:pPr marL="0" marR="0" indent="0" algn="r" defTabSz="675000" rtl="0" eaLnBrk="1" fontAlgn="auto" latinLnBrk="0" hangingPunct="1">
              <a:lnSpc>
                <a:spcPct val="100000"/>
              </a:lnSpc>
              <a:spcBef>
                <a:spcPts val="0"/>
              </a:spcBef>
              <a:spcAft>
                <a:spcPts val="0"/>
              </a:spcAft>
              <a:buClrTx/>
              <a:buSzTx/>
              <a:buFontTx/>
              <a:buNone/>
              <a:tabLst/>
              <a:defRPr/>
            </a:pPr>
            <a:fld id="{9BD6FA6A-A86D-4D06-AFF9-1E656D8048A1}" type="slidenum">
              <a:rPr lang="en-GB" sz="900" b="1" noProof="0" smtClean="0">
                <a:solidFill>
                  <a:schemeClr val="bg1"/>
                </a:solidFill>
                <a:latin typeface="+mj-lt"/>
              </a:rPr>
              <a:pPr marL="0" marR="0" indent="0" algn="r" defTabSz="675000" rtl="0" eaLnBrk="1" fontAlgn="auto" latinLnBrk="0" hangingPunct="1">
                <a:lnSpc>
                  <a:spcPct val="100000"/>
                </a:lnSpc>
                <a:spcBef>
                  <a:spcPts val="0"/>
                </a:spcBef>
                <a:spcAft>
                  <a:spcPts val="0"/>
                </a:spcAft>
                <a:buClrTx/>
                <a:buSzTx/>
                <a:buFontTx/>
                <a:buNone/>
                <a:tabLst/>
                <a:defRPr/>
              </a:pPr>
              <a:t>‹#›</a:t>
            </a:fld>
            <a:endParaRPr lang="en-GB" sz="900" b="1" noProof="0" dirty="0">
              <a:solidFill>
                <a:schemeClr val="bg1"/>
              </a:solidFill>
              <a:latin typeface="+mj-lt"/>
            </a:endParaRPr>
          </a:p>
        </p:txBody>
      </p:sp>
      <p:sp>
        <p:nvSpPr>
          <p:cNvPr id="31" name="ctsFooter"/>
          <p:cNvSpPr txBox="1"/>
          <p:nvPr userDrawn="1"/>
        </p:nvSpPr>
        <p:spPr>
          <a:xfrm>
            <a:off x="332233" y="4841100"/>
            <a:ext cx="7021351" cy="275400"/>
          </a:xfrm>
          <a:prstGeom prst="rect">
            <a:avLst/>
          </a:prstGeom>
          <a:noFill/>
        </p:spPr>
        <p:txBody>
          <a:bodyPr wrap="square" lIns="0" tIns="0" rIns="0" bIns="0" rtlCol="0" anchor="ctr" anchorCtr="0">
            <a:noAutofit/>
          </a:bodyPr>
          <a:lstStyle/>
          <a:p>
            <a:r>
              <a:rPr lang="en-GB" sz="975">
                <a:solidFill>
                  <a:schemeClr val="bg1"/>
                </a:solidFill>
                <a:latin typeface="+mj-lt"/>
              </a:rPr>
              <a:t>October 2016</a:t>
            </a:r>
            <a:endParaRPr lang="en-GB" sz="975" dirty="0">
              <a:solidFill>
                <a:schemeClr val="bg1"/>
              </a:solidFill>
              <a:latin typeface="+mj-lt"/>
            </a:endParaRPr>
          </a:p>
        </p:txBody>
      </p:sp>
      <p:sp>
        <p:nvSpPr>
          <p:cNvPr id="7" name="ctsMasterTextPlaceholder"/>
          <p:cNvSpPr>
            <a:spLocks noGrp="1"/>
          </p:cNvSpPr>
          <p:nvPr>
            <p:ph type="body" idx="1"/>
          </p:nvPr>
        </p:nvSpPr>
        <p:spPr>
          <a:xfrm>
            <a:off x="332233" y="953230"/>
            <a:ext cx="8478000" cy="3614336"/>
          </a:xfrm>
          <a:prstGeom prst="rect">
            <a:avLst/>
          </a:prstGeom>
        </p:spPr>
        <p:txBody>
          <a:bodyPr vert="horz" lIns="0" tIns="0" rIns="0" bIns="0" rtlCol="0">
            <a:noAutofit/>
          </a:bodyPr>
          <a:lstStyle/>
          <a:p>
            <a:pPr lvl="0"/>
            <a:r>
              <a:rPr lang="en-GB" dirty="0"/>
              <a:t>&lt;Insert bullets or format text with the buttons on the ‘</a:t>
            </a:r>
            <a:r>
              <a:rPr lang="en-GB" dirty="0" err="1"/>
              <a:t>GTM</a:t>
            </a:r>
            <a:r>
              <a:rPr lang="en-GB" dirty="0"/>
              <a:t> Tools’ ribbon&gt;</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a:p>
            <a:pPr lvl="0"/>
            <a:endParaRPr lang="en-GB" dirty="0"/>
          </a:p>
        </p:txBody>
      </p:sp>
      <p:grpSp>
        <p:nvGrpSpPr>
          <p:cNvPr id="33" name="ctsGrid" hidden="1"/>
          <p:cNvGrpSpPr/>
          <p:nvPr userDrawn="1"/>
        </p:nvGrpSpPr>
        <p:grpSpPr>
          <a:xfrm>
            <a:off x="-123669" y="-163286"/>
            <a:ext cx="9335124" cy="5483571"/>
            <a:chOff x="-5261" y="0"/>
            <a:chExt cx="9911262" cy="6876000"/>
          </a:xfrm>
        </p:grpSpPr>
        <p:cxnSp>
          <p:nvCxnSpPr>
            <p:cNvPr id="34" name="Straight Connector 33" hidden="1"/>
            <p:cNvCxnSpPr/>
            <p:nvPr/>
          </p:nvCxnSpPr>
          <p:spPr>
            <a:xfrm>
              <a:off x="0" y="6240569"/>
              <a:ext cx="9905999"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p:nvCxnSpPr>
          <p:spPr>
            <a:xfrm>
              <a:off x="2" y="1666520"/>
              <a:ext cx="9905999"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p:nvCxnSpPr>
          <p:spPr>
            <a:xfrm>
              <a:off x="2" y="5941339"/>
              <a:ext cx="9905999"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p:nvCxnSpPr>
          <p:spPr>
            <a:xfrm rot="10800000">
              <a:off x="2" y="1395887"/>
              <a:ext cx="9905999"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p:nvCxnSpPr>
          <p:spPr>
            <a:xfrm>
              <a:off x="-5261" y="1058896"/>
              <a:ext cx="9905999"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p:nvCxnSpPr>
          <p:spPr>
            <a:xfrm>
              <a:off x="1" y="348937"/>
              <a:ext cx="9905999"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p:nvCxnSpPr>
          <p:spPr>
            <a:xfrm>
              <a:off x="478778" y="0"/>
              <a:ext cx="0" cy="68760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p:nvCxnSpPr>
          <p:spPr>
            <a:xfrm>
              <a:off x="4915791" y="0"/>
              <a:ext cx="0" cy="68760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p:nvCxnSpPr>
          <p:spPr>
            <a:xfrm>
              <a:off x="5036211" y="0"/>
              <a:ext cx="0" cy="68760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p:nvCxnSpPr>
          <p:spPr>
            <a:xfrm>
              <a:off x="9486721" y="0"/>
              <a:ext cx="0" cy="68760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p:nvCxnSpPr>
          <p:spPr>
            <a:xfrm>
              <a:off x="-5261" y="3628097"/>
              <a:ext cx="9905999"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p:nvCxnSpPr>
          <p:spPr>
            <a:xfrm>
              <a:off x="2" y="4042147"/>
              <a:ext cx="9905999"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2" y="1733704"/>
              <a:ext cx="9905999"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2" y="3973967"/>
              <a:ext cx="9905999"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p:nvCxnSpPr>
          <p:spPr>
            <a:xfrm>
              <a:off x="1998183" y="0"/>
              <a:ext cx="0" cy="68760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p:ph type="title"/>
          </p:nvPr>
        </p:nvSpPr>
        <p:spPr bwMode="gray">
          <a:xfrm>
            <a:off x="332233" y="104617"/>
            <a:ext cx="8478000" cy="565955"/>
          </a:xfrm>
          <a:prstGeom prst="rect">
            <a:avLst/>
          </a:prstGeom>
        </p:spPr>
        <p:txBody>
          <a:bodyPr vert="horz" lIns="0" tIns="0" rIns="0" bIns="90000" rtlCol="0" anchor="b" anchorCtr="0">
            <a:noAutofit/>
          </a:bodyPr>
          <a:lstStyle/>
          <a:p>
            <a:endParaRPr lang="en-GB" noProof="0" dirty="0"/>
          </a:p>
        </p:txBody>
      </p:sp>
    </p:spTree>
    <p:extLst>
      <p:ext uri="{BB962C8B-B14F-4D97-AF65-F5344CB8AC3E}">
        <p14:creationId xmlns:p14="http://schemas.microsoft.com/office/powerpoint/2010/main" val="3686611903"/>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Lst>
  <p:hf sldNum="0" hdr="0" ftr="0"/>
  <p:txStyles>
    <p:titleStyle>
      <a:lvl1pPr algn="l" defTabSz="685757" rtl="0" eaLnBrk="1" latinLnBrk="0" hangingPunct="1">
        <a:lnSpc>
          <a:spcPts val="1875"/>
        </a:lnSpc>
        <a:spcBef>
          <a:spcPct val="0"/>
        </a:spcBef>
        <a:buNone/>
        <a:defRPr sz="1800" kern="1200" baseline="0">
          <a:solidFill>
            <a:schemeClr val="bg1"/>
          </a:solidFill>
          <a:latin typeface="+mj-lt"/>
          <a:ea typeface="+mj-ea"/>
          <a:cs typeface="+mj-cs"/>
        </a:defRPr>
      </a:lvl1pPr>
    </p:titleStyle>
    <p:bodyStyle>
      <a:lvl1pPr marL="0" marR="0" indent="0" algn="just" defTabSz="685757" rtl="0" eaLnBrk="1" fontAlgn="auto" latinLnBrk="0" hangingPunct="1">
        <a:lnSpc>
          <a:spcPct val="125000"/>
        </a:lnSpc>
        <a:spcBef>
          <a:spcPts val="900"/>
        </a:spcBef>
        <a:spcAft>
          <a:spcPts val="750"/>
        </a:spcAft>
        <a:buClrTx/>
        <a:buSzTx/>
        <a:buFont typeface="Arial" pitchFamily="34" charset="0"/>
        <a:buNone/>
        <a:tabLst/>
        <a:defRPr sz="1275" b="1" kern="1200" baseline="0">
          <a:solidFill>
            <a:schemeClr val="tx1"/>
          </a:solidFill>
          <a:latin typeface="+mj-lt"/>
          <a:ea typeface="+mn-ea"/>
          <a:cs typeface="+mn-cs"/>
        </a:defRPr>
      </a:lvl1pPr>
      <a:lvl2pPr marL="0" indent="0" algn="just" defTabSz="685757" rtl="0" eaLnBrk="1" latinLnBrk="0" hangingPunct="1">
        <a:lnSpc>
          <a:spcPct val="125000"/>
        </a:lnSpc>
        <a:spcBef>
          <a:spcPts val="750"/>
        </a:spcBef>
        <a:buFont typeface="Arial" panose="05020102010507070707" pitchFamily="18" charset="2"/>
        <a:buNone/>
        <a:defRPr sz="1275" kern="1200">
          <a:solidFill>
            <a:schemeClr val="tx1"/>
          </a:solidFill>
          <a:latin typeface="+mn-lt"/>
          <a:ea typeface="+mn-ea"/>
          <a:cs typeface="+mn-cs"/>
        </a:defRPr>
      </a:lvl2pPr>
      <a:lvl3pPr marL="0" indent="0" algn="just" defTabSz="685757" rtl="0" eaLnBrk="1" latinLnBrk="0" hangingPunct="1">
        <a:lnSpc>
          <a:spcPct val="125000"/>
        </a:lnSpc>
        <a:spcBef>
          <a:spcPts val="450"/>
        </a:spcBef>
        <a:buClr>
          <a:schemeClr val="tx1"/>
        </a:buClr>
        <a:buFont typeface="Arial" pitchFamily="34" charset="0"/>
        <a:buNone/>
        <a:defRPr sz="1050" kern="1200">
          <a:solidFill>
            <a:schemeClr val="tx1"/>
          </a:solidFill>
          <a:latin typeface="+mn-lt"/>
          <a:ea typeface="+mn-ea"/>
          <a:cs typeface="+mn-cs"/>
        </a:defRPr>
      </a:lvl3pPr>
      <a:lvl4pPr marL="135731" indent="-135731" algn="just" defTabSz="685757" rtl="0" eaLnBrk="1" latinLnBrk="0" hangingPunct="1">
        <a:lnSpc>
          <a:spcPct val="125000"/>
        </a:lnSpc>
        <a:spcBef>
          <a:spcPts val="450"/>
        </a:spcBef>
        <a:buClr>
          <a:schemeClr val="tx1"/>
        </a:buClr>
        <a:buFont typeface="Calibri Light" panose="020F0302020204030204" pitchFamily="34" charset="0"/>
        <a:buChar char="•"/>
        <a:defRPr sz="1050" kern="1200">
          <a:solidFill>
            <a:schemeClr val="tx1"/>
          </a:solidFill>
          <a:latin typeface="+mn-lt"/>
          <a:ea typeface="+mn-ea"/>
          <a:cs typeface="+mn-cs"/>
        </a:defRPr>
      </a:lvl4pPr>
      <a:lvl5pPr marL="271463" indent="-135731" algn="just" defTabSz="685757" rtl="0" eaLnBrk="1" latinLnBrk="0" hangingPunct="1">
        <a:lnSpc>
          <a:spcPct val="125000"/>
        </a:lnSpc>
        <a:spcBef>
          <a:spcPts val="450"/>
        </a:spcBef>
        <a:buClr>
          <a:schemeClr val="tx1"/>
        </a:buClr>
        <a:buSzPct val="120000"/>
        <a:buFont typeface="Calibri Light" panose="020F0302020204030204" pitchFamily="34" charset="0"/>
        <a:buChar char="◦"/>
        <a:defRPr sz="1050" kern="1200">
          <a:solidFill>
            <a:schemeClr val="tx1"/>
          </a:solidFill>
          <a:latin typeface="+mn-lt"/>
          <a:ea typeface="+mn-ea"/>
          <a:cs typeface="+mn-cs"/>
        </a:defRPr>
      </a:lvl5pPr>
      <a:lvl6pPr marL="407194" indent="-135731" algn="just" defTabSz="685757" rtl="0" eaLnBrk="1" latinLnBrk="0" hangingPunct="1">
        <a:lnSpc>
          <a:spcPct val="125000"/>
        </a:lnSpc>
        <a:spcBef>
          <a:spcPts val="450"/>
        </a:spcBef>
        <a:buClr>
          <a:schemeClr val="tx1"/>
        </a:buClr>
        <a:buFont typeface="Arial" pitchFamily="34" charset="0"/>
        <a:buChar char="–"/>
        <a:defRPr sz="1050" kern="1200">
          <a:solidFill>
            <a:schemeClr val="tx1"/>
          </a:solidFill>
          <a:latin typeface="+mn-lt"/>
          <a:ea typeface="+mn-ea"/>
          <a:cs typeface="+mn-cs"/>
        </a:defRPr>
      </a:lvl6pPr>
      <a:lvl7pPr marL="542925" indent="-135731" algn="just" defTabSz="685757" rtl="0" eaLnBrk="1" latinLnBrk="0" hangingPunct="1">
        <a:lnSpc>
          <a:spcPct val="125000"/>
        </a:lnSpc>
        <a:spcBef>
          <a:spcPts val="450"/>
        </a:spcBef>
        <a:buClr>
          <a:schemeClr val="tx1"/>
        </a:buClr>
        <a:buFont typeface="Arial" pitchFamily="34" charset="0"/>
        <a:buChar char="–"/>
        <a:defRPr sz="1050" kern="1200">
          <a:solidFill>
            <a:schemeClr val="tx1"/>
          </a:solidFill>
          <a:latin typeface="+mn-lt"/>
          <a:ea typeface="+mn-ea"/>
          <a:cs typeface="+mn-cs"/>
        </a:defRPr>
      </a:lvl7pPr>
      <a:lvl8pPr marL="678656" indent="-135731" algn="just" defTabSz="685757" rtl="0" eaLnBrk="1" latinLnBrk="0" hangingPunct="1">
        <a:lnSpc>
          <a:spcPct val="125000"/>
        </a:lnSpc>
        <a:spcBef>
          <a:spcPts val="450"/>
        </a:spcBef>
        <a:buClr>
          <a:schemeClr val="tx1"/>
        </a:buClr>
        <a:buFont typeface="Arial" pitchFamily="34" charset="0"/>
        <a:buChar char="–"/>
        <a:defRPr sz="1050" kern="1200">
          <a:solidFill>
            <a:schemeClr val="tx1"/>
          </a:solidFill>
          <a:latin typeface="+mn-lt"/>
          <a:ea typeface="+mn-ea"/>
          <a:cs typeface="+mn-cs"/>
        </a:defRPr>
      </a:lvl8pPr>
      <a:lvl9pPr marL="814388" indent="-135731" algn="just" defTabSz="685757" rtl="0" eaLnBrk="1" latinLnBrk="0" hangingPunct="1">
        <a:lnSpc>
          <a:spcPct val="125000"/>
        </a:lnSpc>
        <a:spcBef>
          <a:spcPts val="450"/>
        </a:spcBef>
        <a:buClr>
          <a:schemeClr val="tx1"/>
        </a:buClr>
        <a:buFont typeface="Arial" pitchFamily="34" charset="0"/>
        <a:buChar char="–"/>
        <a:defRPr sz="1050" kern="1200" baseline="0">
          <a:solidFill>
            <a:schemeClr val="tx1"/>
          </a:solidFill>
          <a:latin typeface="+mn-lt"/>
          <a:ea typeface="+mn-ea"/>
          <a:cs typeface="+mn-cs"/>
        </a:defRPr>
      </a:lvl9pPr>
    </p:bodyStyle>
    <p:otherStyle>
      <a:defPPr>
        <a:defRPr lang="en-GB"/>
      </a:defPPr>
      <a:lvl1pPr marL="0" indent="0" defTabSz="685757" rtl="0" eaLnBrk="1" latinLnBrk="0" hangingPunct="1">
        <a:buClr>
          <a:schemeClr val="tx1"/>
        </a:buClr>
        <a:buFont typeface="Arial" pitchFamily="34" charset="0"/>
        <a:buNone/>
        <a:defRPr sz="900" kern="1200">
          <a:solidFill>
            <a:schemeClr val="tx1"/>
          </a:solidFill>
          <a:latin typeface="+mn-lt"/>
          <a:ea typeface="+mn-ea"/>
          <a:cs typeface="+mn-cs"/>
        </a:defRPr>
      </a:lvl1pPr>
      <a:lvl2pPr marL="135731" indent="-135731" defTabSz="685757" rtl="0" eaLnBrk="1" latinLnBrk="0" hangingPunct="1">
        <a:buClr>
          <a:schemeClr val="tx1"/>
        </a:buClr>
        <a:buFont typeface="Calibri Light" panose="020F0302020204030204" pitchFamily="34" charset="0"/>
        <a:buChar char="•"/>
        <a:defRPr sz="900" kern="1200">
          <a:solidFill>
            <a:schemeClr val="tx1"/>
          </a:solidFill>
          <a:latin typeface="+mn-lt"/>
          <a:ea typeface="+mn-ea"/>
          <a:cs typeface="+mn-cs"/>
        </a:defRPr>
      </a:lvl2pPr>
      <a:lvl3pPr marL="271463" indent="-135731" defTabSz="685757" rtl="0" eaLnBrk="1" latinLnBrk="0" hangingPunct="1">
        <a:buClr>
          <a:schemeClr val="tx1"/>
        </a:buClr>
        <a:buSzPct val="120000"/>
        <a:buFont typeface="Calibri Light" panose="020F0302020204030204" pitchFamily="34" charset="0"/>
        <a:buChar char="◦"/>
        <a:defRPr sz="900" kern="1200">
          <a:solidFill>
            <a:schemeClr val="tx1"/>
          </a:solidFill>
          <a:latin typeface="+mn-lt"/>
          <a:ea typeface="+mn-ea"/>
          <a:cs typeface="+mn-cs"/>
        </a:defRPr>
      </a:lvl3pPr>
      <a:lvl4pPr marL="407194" indent="-135731" defTabSz="685757" rtl="0" eaLnBrk="1" latinLnBrk="0" hangingPunct="1">
        <a:buClr>
          <a:schemeClr val="tx1"/>
        </a:buClr>
        <a:buFont typeface="Arial" pitchFamily="34" charset="0"/>
        <a:buChar char="–"/>
        <a:defRPr sz="900" kern="1200">
          <a:solidFill>
            <a:schemeClr val="tx1"/>
          </a:solidFill>
          <a:latin typeface="+mn-lt"/>
          <a:ea typeface="+mn-ea"/>
          <a:cs typeface="+mn-cs"/>
        </a:defRPr>
      </a:lvl4pPr>
      <a:lvl5pPr marL="542925" indent="-135731" defTabSz="685757" rtl="0" eaLnBrk="1" latinLnBrk="0" hangingPunct="1">
        <a:buClr>
          <a:schemeClr val="tx1"/>
        </a:buClr>
        <a:buFont typeface="Arial" pitchFamily="34" charset="0"/>
        <a:buChar char="–"/>
        <a:defRPr sz="900" kern="1200">
          <a:solidFill>
            <a:schemeClr val="tx1"/>
          </a:solidFill>
          <a:latin typeface="+mn-lt"/>
          <a:ea typeface="+mn-ea"/>
          <a:cs typeface="+mn-cs"/>
        </a:defRPr>
      </a:lvl5pPr>
      <a:lvl6pPr marL="678656" indent="-135731" defTabSz="685757" rtl="0" eaLnBrk="1" latinLnBrk="0" hangingPunct="1">
        <a:buClr>
          <a:schemeClr val="tx1"/>
        </a:buClr>
        <a:buFont typeface="Arial" pitchFamily="34" charset="0"/>
        <a:buChar char="–"/>
        <a:defRPr sz="900" kern="1200">
          <a:solidFill>
            <a:schemeClr val="tx1"/>
          </a:solidFill>
          <a:latin typeface="+mn-lt"/>
          <a:ea typeface="+mn-ea"/>
          <a:cs typeface="+mn-cs"/>
        </a:defRPr>
      </a:lvl6pPr>
      <a:lvl7pPr marL="814388" indent="-135731" defTabSz="685757" rtl="0" eaLnBrk="1" latinLnBrk="0" hangingPunct="1">
        <a:buClr>
          <a:schemeClr val="tx1"/>
        </a:buClr>
        <a:buFont typeface="Arial" pitchFamily="34" charset="0"/>
        <a:buChar char="–"/>
        <a:defRPr sz="900" kern="1200" baseline="0">
          <a:solidFill>
            <a:schemeClr val="tx1"/>
          </a:solidFill>
          <a:latin typeface="+mn-lt"/>
          <a:ea typeface="+mn-ea"/>
          <a:cs typeface="+mn-cs"/>
        </a:defRPr>
      </a:lvl7pPr>
      <a:lvl8pPr marL="950119" indent="-135731" defTabSz="685757" rtl="0" eaLnBrk="1" latinLnBrk="0" hangingPunct="1">
        <a:buClr>
          <a:schemeClr val="tx1"/>
        </a:buClr>
        <a:buFont typeface="Arial" pitchFamily="34" charset="0"/>
        <a:buChar char="–"/>
        <a:defRPr sz="900" kern="1200" baseline="0">
          <a:solidFill>
            <a:schemeClr val="tx1"/>
          </a:solidFill>
          <a:latin typeface="+mn-lt"/>
          <a:ea typeface="+mn-ea"/>
          <a:cs typeface="+mn-cs"/>
        </a:defRPr>
      </a:lvl8pPr>
      <a:lvl9pPr marL="1085850" indent="-135731" defTabSz="685757" rtl="0" eaLnBrk="1" latinLnBrk="0" hangingPunct="1">
        <a:spcBef>
          <a:spcPts val="375"/>
        </a:spcBef>
        <a:buClr>
          <a:schemeClr val="tx1"/>
        </a:buClr>
        <a:buFont typeface="Arial" pitchFamily="34" charset="0"/>
        <a:buChar char="–"/>
        <a:defRPr sz="900" kern="1200" baseline="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slideLayout" Target="../slideLayouts/slideLayout6.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tiff"/><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emf"/><Relationship Id="rId2" Type="http://schemas.openxmlformats.org/officeDocument/2006/relationships/notesSlide" Target="../notesSlides/notesSlide1.xml"/><Relationship Id="rId1" Type="http://schemas.openxmlformats.org/officeDocument/2006/relationships/slideLayout" Target="../slideLayouts/slideLayout23.xml"/><Relationship Id="rId6" Type="http://schemas.openxmlformats.org/officeDocument/2006/relationships/image" Target="../media/image12.emf"/><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9.tiff"/><Relationship Id="rId9" Type="http://schemas.openxmlformats.org/officeDocument/2006/relationships/image" Target="../media/image27.pn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19.tiff"/><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29.png"/><Relationship Id="rId11" Type="http://schemas.openxmlformats.org/officeDocument/2006/relationships/image" Target="../media/image34.jpeg"/><Relationship Id="rId5" Type="http://schemas.openxmlformats.org/officeDocument/2006/relationships/image" Target="../media/image27.png"/><Relationship Id="rId15" Type="http://schemas.openxmlformats.org/officeDocument/2006/relationships/image" Target="../media/image38.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 Id="rId14" Type="http://schemas.openxmlformats.org/officeDocument/2006/relationships/image" Target="../media/image37.png"/></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8.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100" y="1966464"/>
            <a:ext cx="7596738" cy="487400"/>
          </a:xfrm>
        </p:spPr>
        <p:txBody>
          <a:bodyPr/>
          <a:lstStyle/>
          <a:p>
            <a:r>
              <a:rPr lang="en-US" dirty="0"/>
              <a:t>Section III Update – February 8, 2017</a:t>
            </a:r>
          </a:p>
        </p:txBody>
      </p:sp>
      <p:sp>
        <p:nvSpPr>
          <p:cNvPr id="5" name="Rectangle 4"/>
          <p:cNvSpPr/>
          <p:nvPr/>
        </p:nvSpPr>
        <p:spPr>
          <a:xfrm>
            <a:off x="233464" y="4870315"/>
            <a:ext cx="1141379" cy="214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err="1"/>
          </a:p>
        </p:txBody>
      </p:sp>
    </p:spTree>
    <p:extLst>
      <p:ext uri="{BB962C8B-B14F-4D97-AF65-F5344CB8AC3E}">
        <p14:creationId xmlns:p14="http://schemas.microsoft.com/office/powerpoint/2010/main" val="37943892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tream 3: Market &amp; Technology Research</a:t>
            </a:r>
          </a:p>
        </p:txBody>
      </p:sp>
      <p:sp>
        <p:nvSpPr>
          <p:cNvPr id="4" name="Text Placeholder 3"/>
          <p:cNvSpPr>
            <a:spLocks noGrp="1"/>
          </p:cNvSpPr>
          <p:nvPr>
            <p:ph type="body" sz="quarter" idx="11"/>
          </p:nvPr>
        </p:nvSpPr>
        <p:spPr/>
        <p:txBody>
          <a:bodyPr/>
          <a:lstStyle/>
          <a:p>
            <a:r>
              <a:rPr lang="en-US" dirty="0"/>
              <a:t>Program Governance</a:t>
            </a:r>
          </a:p>
        </p:txBody>
      </p:sp>
      <p:sp>
        <p:nvSpPr>
          <p:cNvPr id="10" name="Rectangle 17"/>
          <p:cNvSpPr>
            <a:spLocks noChangeArrowheads="1"/>
          </p:cNvSpPr>
          <p:nvPr>
            <p:custDataLst>
              <p:tags r:id="rId1"/>
            </p:custDataLst>
          </p:nvPr>
        </p:nvSpPr>
        <p:spPr bwMode="gray">
          <a:xfrm>
            <a:off x="116113" y="2684660"/>
            <a:ext cx="5716372" cy="1051560"/>
          </a:xfrm>
          <a:prstGeom prst="rect">
            <a:avLst/>
          </a:prstGeom>
          <a:noFill/>
          <a:ln w="9525" algn="ctr">
            <a:solidFill>
              <a:schemeClr val="accent1"/>
            </a:solidFill>
            <a:miter lim="800000"/>
            <a:headEnd/>
            <a:tailEnd/>
          </a:ln>
          <a:effectLst/>
          <a:extLst>
            <a:ext uri="{909E8E84-426E-40DD-AFC4-6F175D3DCCD1}">
              <a14:hiddenFill xmlns:a14="http://schemas.microsoft.com/office/drawing/2010/main">
                <a:solidFill>
                  <a:srgbClr val="EAEAE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9973" tIns="34987" rIns="69973" bIns="34987" numCol="1" anchor="ctr" anchorCtr="0" compatLnSpc="1">
            <a:prstTxWarp prst="textNoShape">
              <a:avLst/>
            </a:prstTxWarp>
          </a:bodyPr>
          <a:lstStyle/>
          <a:p>
            <a:pPr algn="ctr" fontAlgn="base">
              <a:spcBef>
                <a:spcPct val="0"/>
              </a:spcBef>
              <a:spcAft>
                <a:spcPct val="0"/>
              </a:spcAft>
            </a:pPr>
            <a:endParaRPr lang="en-US" sz="1200" dirty="0">
              <a:solidFill>
                <a:srgbClr val="000000"/>
              </a:solidFill>
              <a:cs typeface="Arial" pitchFamily="34" charset="0"/>
            </a:endParaRPr>
          </a:p>
        </p:txBody>
      </p:sp>
      <p:sp>
        <p:nvSpPr>
          <p:cNvPr id="11" name="Rectangle 18"/>
          <p:cNvSpPr>
            <a:spLocks noChangeArrowheads="1"/>
          </p:cNvSpPr>
          <p:nvPr>
            <p:custDataLst>
              <p:tags r:id="rId2"/>
            </p:custDataLst>
          </p:nvPr>
        </p:nvSpPr>
        <p:spPr bwMode="gray">
          <a:xfrm>
            <a:off x="116113" y="2475101"/>
            <a:ext cx="5716372" cy="221096"/>
          </a:xfrm>
          <a:prstGeom prst="rect">
            <a:avLst/>
          </a:prstGeom>
          <a:solidFill>
            <a:schemeClr val="accent1"/>
          </a:solidFill>
          <a:ln>
            <a:solidFill>
              <a:schemeClr val="accent1"/>
            </a:solidFill>
          </a:ln>
          <a:effectLst/>
          <a:extLst/>
        </p:spPr>
        <p:txBody>
          <a:bodyPr vert="horz" wrap="square" lIns="27989" tIns="27989" rIns="27989" bIns="27989" numCol="1" anchor="ctr" anchorCtr="0" compatLnSpc="1">
            <a:prstTxWarp prst="textNoShape">
              <a:avLst/>
            </a:prstTxWarp>
          </a:bodyPr>
          <a:lstStyle/>
          <a:p>
            <a:pPr algn="ctr" fontAlgn="base">
              <a:spcBef>
                <a:spcPct val="0"/>
              </a:spcBef>
              <a:spcAft>
                <a:spcPct val="0"/>
              </a:spcAft>
            </a:pPr>
            <a:endParaRPr lang="en-US" sz="1200" dirty="0">
              <a:solidFill>
                <a:srgbClr val="000000"/>
              </a:solidFill>
              <a:cs typeface="Arial" pitchFamily="34" charset="0"/>
            </a:endParaRPr>
          </a:p>
        </p:txBody>
      </p:sp>
      <p:sp>
        <p:nvSpPr>
          <p:cNvPr id="12" name="Rectangle 19"/>
          <p:cNvSpPr>
            <a:spLocks noChangeArrowheads="1"/>
          </p:cNvSpPr>
          <p:nvPr>
            <p:custDataLst>
              <p:tags r:id="rId3"/>
            </p:custDataLst>
          </p:nvPr>
        </p:nvSpPr>
        <p:spPr bwMode="gray">
          <a:xfrm>
            <a:off x="163490" y="2516400"/>
            <a:ext cx="1322927"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b="1" dirty="0">
                <a:solidFill>
                  <a:srgbClr val="FFFFFF"/>
                </a:solidFill>
                <a:cs typeface="Arial" pitchFamily="34" charset="0"/>
              </a:rPr>
              <a:t>Next Steps</a:t>
            </a:r>
            <a:endParaRPr lang="en-US" sz="1200" dirty="0">
              <a:solidFill>
                <a:srgbClr val="000000"/>
              </a:solidFill>
              <a:cs typeface="Arial" pitchFamily="34" charset="0"/>
            </a:endParaRPr>
          </a:p>
        </p:txBody>
      </p:sp>
      <p:sp>
        <p:nvSpPr>
          <p:cNvPr id="13" name="Rectangle 26"/>
          <p:cNvSpPr>
            <a:spLocks noChangeArrowheads="1"/>
          </p:cNvSpPr>
          <p:nvPr>
            <p:custDataLst>
              <p:tags r:id="rId4"/>
            </p:custDataLst>
          </p:nvPr>
        </p:nvSpPr>
        <p:spPr bwMode="gray">
          <a:xfrm>
            <a:off x="5963687" y="1000013"/>
            <a:ext cx="3044012" cy="2744421"/>
          </a:xfrm>
          <a:prstGeom prst="rect">
            <a:avLst/>
          </a:prstGeom>
          <a:noFill/>
          <a:ln w="9525" algn="ctr">
            <a:solidFill>
              <a:schemeClr val="accent1"/>
            </a:solidFill>
            <a:miter lim="800000"/>
            <a:headEnd/>
            <a:tailEnd/>
          </a:ln>
          <a:effectLst/>
          <a:extLst>
            <a:ext uri="{909E8E84-426E-40DD-AFC4-6F175D3DCCD1}">
              <a14:hiddenFill xmlns:a14="http://schemas.microsoft.com/office/drawing/2010/main">
                <a:solidFill>
                  <a:srgbClr val="EAEAE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9973" tIns="34987" rIns="69973" bIns="34987" numCol="1" anchor="ctr" anchorCtr="0" compatLnSpc="1">
            <a:prstTxWarp prst="textNoShape">
              <a:avLst/>
            </a:prstTxWarp>
          </a:bodyPr>
          <a:lstStyle/>
          <a:p>
            <a:pPr algn="ctr" fontAlgn="base">
              <a:spcBef>
                <a:spcPct val="0"/>
              </a:spcBef>
              <a:spcAft>
                <a:spcPct val="0"/>
              </a:spcAft>
            </a:pPr>
            <a:endParaRPr lang="en-US" sz="1200" dirty="0">
              <a:solidFill>
                <a:srgbClr val="000000"/>
              </a:solidFill>
              <a:cs typeface="Arial" pitchFamily="34" charset="0"/>
            </a:endParaRPr>
          </a:p>
        </p:txBody>
      </p:sp>
      <p:sp>
        <p:nvSpPr>
          <p:cNvPr id="14" name="Rectangle 30"/>
          <p:cNvSpPr>
            <a:spLocks noChangeArrowheads="1"/>
          </p:cNvSpPr>
          <p:nvPr>
            <p:custDataLst>
              <p:tags r:id="rId5"/>
            </p:custDataLst>
          </p:nvPr>
        </p:nvSpPr>
        <p:spPr bwMode="gray">
          <a:xfrm>
            <a:off x="5963687" y="1000010"/>
            <a:ext cx="3044012" cy="221096"/>
          </a:xfrm>
          <a:prstGeom prst="rect">
            <a:avLst/>
          </a:prstGeom>
          <a:solidFill>
            <a:schemeClr val="accent1"/>
          </a:solidFill>
          <a:ln>
            <a:noFill/>
          </a:ln>
          <a:effectLst/>
          <a:extLst/>
        </p:spPr>
        <p:txBody>
          <a:bodyPr vert="horz" wrap="square" lIns="27989" tIns="27989" rIns="27989" bIns="27989" numCol="1" anchor="ctr" anchorCtr="0" compatLnSpc="1">
            <a:prstTxWarp prst="textNoShape">
              <a:avLst/>
            </a:prstTxWarp>
          </a:bodyPr>
          <a:lstStyle/>
          <a:p>
            <a:pPr algn="ctr" fontAlgn="base">
              <a:spcBef>
                <a:spcPct val="0"/>
              </a:spcBef>
              <a:spcAft>
                <a:spcPct val="0"/>
              </a:spcAft>
            </a:pPr>
            <a:endParaRPr lang="en-US" sz="1200" dirty="0">
              <a:solidFill>
                <a:srgbClr val="000000"/>
              </a:solidFill>
              <a:cs typeface="Arial" pitchFamily="34" charset="0"/>
            </a:endParaRPr>
          </a:p>
        </p:txBody>
      </p:sp>
      <p:sp>
        <p:nvSpPr>
          <p:cNvPr id="16" name="Rectangle 33"/>
          <p:cNvSpPr>
            <a:spLocks noChangeArrowheads="1"/>
          </p:cNvSpPr>
          <p:nvPr>
            <p:custDataLst>
              <p:tags r:id="rId6"/>
            </p:custDataLst>
          </p:nvPr>
        </p:nvSpPr>
        <p:spPr bwMode="gray">
          <a:xfrm>
            <a:off x="6025643" y="1041308"/>
            <a:ext cx="2203663"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b="1" dirty="0">
                <a:solidFill>
                  <a:srgbClr val="FFFFFF"/>
                </a:solidFill>
                <a:cs typeface="Arial" pitchFamily="34" charset="0"/>
              </a:rPr>
              <a:t>Timeline</a:t>
            </a:r>
            <a:endParaRPr lang="en-US" sz="1200" dirty="0">
              <a:solidFill>
                <a:srgbClr val="000000"/>
              </a:solidFill>
              <a:cs typeface="Arial" pitchFamily="34" charset="0"/>
            </a:endParaRPr>
          </a:p>
        </p:txBody>
      </p:sp>
      <p:sp>
        <p:nvSpPr>
          <p:cNvPr id="17" name="Rectangle 34"/>
          <p:cNvSpPr>
            <a:spLocks noChangeArrowheads="1"/>
          </p:cNvSpPr>
          <p:nvPr>
            <p:custDataLst>
              <p:tags r:id="rId7"/>
            </p:custDataLst>
          </p:nvPr>
        </p:nvSpPr>
        <p:spPr bwMode="gray">
          <a:xfrm>
            <a:off x="6025641" y="1282397"/>
            <a:ext cx="2218241" cy="115407"/>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fontAlgn="base">
              <a:spcBef>
                <a:spcPct val="0"/>
              </a:spcBef>
              <a:spcAft>
                <a:spcPct val="0"/>
              </a:spcAft>
            </a:pPr>
            <a:r>
              <a:rPr lang="en-GB" sz="1200" b="1" dirty="0">
                <a:solidFill>
                  <a:srgbClr val="000000"/>
                </a:solidFill>
                <a:cs typeface="Arial" pitchFamily="34" charset="0"/>
              </a:rPr>
              <a:t>Milestone</a:t>
            </a:r>
            <a:endParaRPr lang="en-US" sz="1200" dirty="0">
              <a:solidFill>
                <a:srgbClr val="000000"/>
              </a:solidFill>
              <a:cs typeface="Arial" pitchFamily="34" charset="0"/>
            </a:endParaRPr>
          </a:p>
        </p:txBody>
      </p:sp>
      <p:sp>
        <p:nvSpPr>
          <p:cNvPr id="18" name="Rectangle 35"/>
          <p:cNvSpPr>
            <a:spLocks noChangeArrowheads="1"/>
          </p:cNvSpPr>
          <p:nvPr>
            <p:custDataLst>
              <p:tags r:id="rId8"/>
            </p:custDataLst>
          </p:nvPr>
        </p:nvSpPr>
        <p:spPr bwMode="gray">
          <a:xfrm>
            <a:off x="7455845" y="1213137"/>
            <a:ext cx="573993"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GB" sz="1200" b="1" dirty="0">
                <a:solidFill>
                  <a:srgbClr val="000000"/>
                </a:solidFill>
                <a:cs typeface="Arial" pitchFamily="34" charset="0"/>
              </a:rPr>
              <a:t>Commit</a:t>
            </a:r>
            <a:endParaRPr lang="en-US" sz="1200" dirty="0">
              <a:solidFill>
                <a:srgbClr val="000000"/>
              </a:solidFill>
              <a:cs typeface="Arial" pitchFamily="34" charset="0"/>
            </a:endParaRPr>
          </a:p>
        </p:txBody>
      </p:sp>
      <p:sp>
        <p:nvSpPr>
          <p:cNvPr id="20" name="Line 42"/>
          <p:cNvSpPr>
            <a:spLocks noChangeShapeType="1"/>
          </p:cNvSpPr>
          <p:nvPr/>
        </p:nvSpPr>
        <p:spPr bwMode="gray">
          <a:xfrm>
            <a:off x="6025641" y="1388858"/>
            <a:ext cx="136423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9973" tIns="34987" rIns="69973" bIns="34987" numCol="1" anchor="ctr" anchorCtr="0" compatLnSpc="1">
            <a:prstTxWarp prst="textNoShape">
              <a:avLst/>
            </a:prstTxWarp>
          </a:bodyPr>
          <a:lstStyle/>
          <a:p>
            <a:pPr fontAlgn="base">
              <a:spcBef>
                <a:spcPct val="0"/>
              </a:spcBef>
              <a:spcAft>
                <a:spcPct val="0"/>
              </a:spcAft>
            </a:pPr>
            <a:endParaRPr lang="en-US" sz="1200" b="1" dirty="0">
              <a:solidFill>
                <a:srgbClr val="000000"/>
              </a:solidFill>
            </a:endParaRPr>
          </a:p>
        </p:txBody>
      </p:sp>
      <p:sp>
        <p:nvSpPr>
          <p:cNvPr id="25" name="Rectangle 62"/>
          <p:cNvSpPr>
            <a:spLocks noChangeArrowheads="1"/>
          </p:cNvSpPr>
          <p:nvPr/>
        </p:nvSpPr>
        <p:spPr bwMode="gray">
          <a:xfrm>
            <a:off x="6025644" y="1455572"/>
            <a:ext cx="1441975" cy="23852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114300" lvl="1" indent="-112713" defTabSz="895350" fontAlgn="base">
              <a:spcBef>
                <a:spcPct val="0"/>
              </a:spcBef>
              <a:spcAft>
                <a:spcPct val="0"/>
              </a:spcAft>
              <a:buClr>
                <a:schemeClr val="tx2"/>
              </a:buClr>
              <a:buSzPct val="100000"/>
              <a:buFont typeface="Arial" charset="0"/>
              <a:buChar char="▪"/>
            </a:pPr>
            <a:r>
              <a:rPr lang="en-US" sz="1100" dirty="0"/>
              <a:t>Design initial survey</a:t>
            </a:r>
          </a:p>
          <a:p>
            <a:pPr marL="114300" lvl="1" indent="-112713" defTabSz="895350" fontAlgn="base">
              <a:spcBef>
                <a:spcPct val="0"/>
              </a:spcBef>
              <a:spcAft>
                <a:spcPct val="0"/>
              </a:spcAft>
              <a:buClr>
                <a:schemeClr val="tx2"/>
              </a:buClr>
              <a:buSzPct val="100000"/>
              <a:buFont typeface="Arial" charset="0"/>
              <a:buChar char="▪"/>
            </a:pPr>
            <a:r>
              <a:rPr lang="en-US" sz="1100" dirty="0"/>
              <a:t>Determine survey participants</a:t>
            </a:r>
          </a:p>
          <a:p>
            <a:pPr marL="114300" lvl="1" indent="-112713" defTabSz="895350" fontAlgn="base">
              <a:spcBef>
                <a:spcPct val="0"/>
              </a:spcBef>
              <a:spcAft>
                <a:spcPct val="0"/>
              </a:spcAft>
              <a:buClr>
                <a:schemeClr val="tx2"/>
              </a:buClr>
              <a:buSzPct val="100000"/>
              <a:buFont typeface="Arial" charset="0"/>
              <a:buChar char="▪"/>
            </a:pPr>
            <a:r>
              <a:rPr lang="en-US" sz="1100" dirty="0"/>
              <a:t>Develop vendor taxonomy</a:t>
            </a:r>
          </a:p>
          <a:p>
            <a:pPr marL="114300" lvl="1" indent="-112713" defTabSz="895350" fontAlgn="base">
              <a:spcBef>
                <a:spcPct val="0"/>
              </a:spcBef>
              <a:spcAft>
                <a:spcPct val="0"/>
              </a:spcAft>
              <a:buClr>
                <a:schemeClr val="tx2"/>
              </a:buClr>
              <a:buSzPct val="100000"/>
              <a:buFont typeface="Arial" charset="0"/>
              <a:buChar char="▪"/>
            </a:pPr>
            <a:r>
              <a:rPr lang="en-US" sz="1100" dirty="0"/>
              <a:t>Complete surveys</a:t>
            </a:r>
          </a:p>
          <a:p>
            <a:pPr marL="114300" lvl="1" indent="-112713" defTabSz="895350" fontAlgn="base">
              <a:spcBef>
                <a:spcPct val="0"/>
              </a:spcBef>
              <a:spcAft>
                <a:spcPct val="0"/>
              </a:spcAft>
              <a:buClr>
                <a:schemeClr val="tx2"/>
              </a:buClr>
              <a:buSzPct val="100000"/>
              <a:buFont typeface="Arial" charset="0"/>
              <a:buChar char="▪"/>
            </a:pPr>
            <a:r>
              <a:rPr lang="en-US" sz="1100" dirty="0"/>
              <a:t>Diagram business cases and bundles</a:t>
            </a:r>
          </a:p>
          <a:p>
            <a:pPr marL="114300" lvl="1" indent="-112713" defTabSz="895350" fontAlgn="base">
              <a:spcBef>
                <a:spcPct val="0"/>
              </a:spcBef>
              <a:spcAft>
                <a:spcPct val="0"/>
              </a:spcAft>
              <a:buClr>
                <a:schemeClr val="tx2"/>
              </a:buClr>
              <a:buSzPct val="100000"/>
              <a:buFont typeface="Arial" charset="0"/>
              <a:buChar char="▪"/>
            </a:pPr>
            <a:r>
              <a:rPr lang="en-US" sz="1100" dirty="0"/>
              <a:t>Develop strategic recommendations</a:t>
            </a:r>
          </a:p>
          <a:p>
            <a:pPr marL="114300" lvl="1" indent="-112713" defTabSz="895350" fontAlgn="base">
              <a:spcBef>
                <a:spcPct val="0"/>
              </a:spcBef>
              <a:spcAft>
                <a:spcPct val="0"/>
              </a:spcAft>
              <a:buClr>
                <a:schemeClr val="tx2"/>
              </a:buClr>
              <a:buSzPct val="100000"/>
              <a:buFont typeface="Arial" charset="0"/>
              <a:buChar char="▪"/>
            </a:pPr>
            <a:r>
              <a:rPr lang="en-US" sz="1100" dirty="0"/>
              <a:t>Prepare and present output to steering committee </a:t>
            </a:r>
          </a:p>
          <a:p>
            <a:pPr marL="114300" lvl="1" indent="-112713" defTabSz="895350" fontAlgn="base">
              <a:spcBef>
                <a:spcPct val="0"/>
              </a:spcBef>
              <a:spcAft>
                <a:spcPct val="0"/>
              </a:spcAft>
              <a:buClr>
                <a:schemeClr val="tx2"/>
              </a:buClr>
              <a:buSzPct val="100000"/>
              <a:buFont typeface="Arial" charset="0"/>
              <a:buChar char="▪"/>
            </a:pPr>
            <a:endParaRPr lang="en-US" sz="1200" dirty="0"/>
          </a:p>
        </p:txBody>
      </p:sp>
      <p:sp>
        <p:nvSpPr>
          <p:cNvPr id="33" name="Rectangle 35"/>
          <p:cNvSpPr>
            <a:spLocks noChangeArrowheads="1"/>
          </p:cNvSpPr>
          <p:nvPr>
            <p:custDataLst>
              <p:tags r:id="rId9"/>
            </p:custDataLst>
          </p:nvPr>
        </p:nvSpPr>
        <p:spPr bwMode="gray">
          <a:xfrm>
            <a:off x="8594118" y="1213137"/>
            <a:ext cx="451909"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GB" sz="1200" b="1" dirty="0">
                <a:solidFill>
                  <a:srgbClr val="000000"/>
                </a:solidFill>
                <a:cs typeface="Arial" pitchFamily="34" charset="0"/>
              </a:rPr>
              <a:t>Status</a:t>
            </a:r>
            <a:endParaRPr lang="en-US" sz="1200" dirty="0">
              <a:solidFill>
                <a:srgbClr val="000000"/>
              </a:solidFill>
              <a:cs typeface="Arial" pitchFamily="34" charset="0"/>
            </a:endParaRPr>
          </a:p>
        </p:txBody>
      </p:sp>
      <p:sp>
        <p:nvSpPr>
          <p:cNvPr id="38" name="Rectangle 17"/>
          <p:cNvSpPr>
            <a:spLocks noChangeArrowheads="1"/>
          </p:cNvSpPr>
          <p:nvPr>
            <p:custDataLst>
              <p:tags r:id="rId10"/>
            </p:custDataLst>
          </p:nvPr>
        </p:nvSpPr>
        <p:spPr bwMode="gray">
          <a:xfrm>
            <a:off x="116113" y="1218962"/>
            <a:ext cx="5716372" cy="1051560"/>
          </a:xfrm>
          <a:prstGeom prst="rect">
            <a:avLst/>
          </a:prstGeom>
          <a:noFill/>
          <a:ln w="9525" algn="ctr">
            <a:solidFill>
              <a:schemeClr val="accent1"/>
            </a:solidFill>
            <a:miter lim="800000"/>
            <a:headEnd/>
            <a:tailEnd/>
          </a:ln>
          <a:effectLst/>
          <a:extLst>
            <a:ext uri="{909E8E84-426E-40DD-AFC4-6F175D3DCCD1}">
              <a14:hiddenFill xmlns:a14="http://schemas.microsoft.com/office/drawing/2010/main">
                <a:solidFill>
                  <a:srgbClr val="EAEAE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9973" tIns="34987" rIns="69973" bIns="34987" numCol="1" anchor="ctr" anchorCtr="0" compatLnSpc="1">
            <a:prstTxWarp prst="textNoShape">
              <a:avLst/>
            </a:prstTxWarp>
          </a:bodyPr>
          <a:lstStyle/>
          <a:p>
            <a:pPr algn="ctr" fontAlgn="base">
              <a:spcBef>
                <a:spcPct val="0"/>
              </a:spcBef>
              <a:spcAft>
                <a:spcPct val="0"/>
              </a:spcAft>
            </a:pPr>
            <a:endParaRPr lang="en-US" sz="1200" dirty="0">
              <a:solidFill>
                <a:srgbClr val="000000"/>
              </a:solidFill>
              <a:cs typeface="Arial" pitchFamily="34" charset="0"/>
            </a:endParaRPr>
          </a:p>
        </p:txBody>
      </p:sp>
      <p:sp>
        <p:nvSpPr>
          <p:cNvPr id="39" name="Rectangle 18"/>
          <p:cNvSpPr>
            <a:spLocks noChangeArrowheads="1"/>
          </p:cNvSpPr>
          <p:nvPr>
            <p:custDataLst>
              <p:tags r:id="rId11"/>
            </p:custDataLst>
          </p:nvPr>
        </p:nvSpPr>
        <p:spPr bwMode="gray">
          <a:xfrm>
            <a:off x="116113" y="997867"/>
            <a:ext cx="5716372" cy="221096"/>
          </a:xfrm>
          <a:prstGeom prst="rect">
            <a:avLst/>
          </a:prstGeom>
          <a:solidFill>
            <a:schemeClr val="accent1"/>
          </a:solidFill>
          <a:ln>
            <a:solidFill>
              <a:schemeClr val="accent1"/>
            </a:solidFill>
          </a:ln>
          <a:effectLst/>
          <a:extLst/>
        </p:spPr>
        <p:txBody>
          <a:bodyPr vert="horz" wrap="square" lIns="27989" tIns="27989" rIns="27989" bIns="27989" numCol="1" anchor="ctr" anchorCtr="0" compatLnSpc="1">
            <a:prstTxWarp prst="textNoShape">
              <a:avLst/>
            </a:prstTxWarp>
          </a:bodyPr>
          <a:lstStyle/>
          <a:p>
            <a:pPr algn="ctr" fontAlgn="base">
              <a:spcBef>
                <a:spcPct val="0"/>
              </a:spcBef>
              <a:spcAft>
                <a:spcPct val="0"/>
              </a:spcAft>
            </a:pPr>
            <a:endParaRPr lang="en-US" sz="1200" dirty="0">
              <a:solidFill>
                <a:srgbClr val="000000"/>
              </a:solidFill>
              <a:cs typeface="Arial" pitchFamily="34" charset="0"/>
            </a:endParaRPr>
          </a:p>
        </p:txBody>
      </p:sp>
      <p:sp>
        <p:nvSpPr>
          <p:cNvPr id="40" name="Rectangle 19"/>
          <p:cNvSpPr>
            <a:spLocks noChangeArrowheads="1"/>
          </p:cNvSpPr>
          <p:nvPr>
            <p:custDataLst>
              <p:tags r:id="rId12"/>
            </p:custDataLst>
          </p:nvPr>
        </p:nvSpPr>
        <p:spPr bwMode="gray">
          <a:xfrm>
            <a:off x="163490" y="1039165"/>
            <a:ext cx="1865567"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b="1" dirty="0">
                <a:solidFill>
                  <a:srgbClr val="FFFFFF"/>
                </a:solidFill>
                <a:cs typeface="Arial" pitchFamily="34" charset="0"/>
              </a:rPr>
              <a:t>Recent Achievements</a:t>
            </a:r>
            <a:endParaRPr lang="en-US" sz="1200" dirty="0">
              <a:solidFill>
                <a:srgbClr val="000000"/>
              </a:solidFill>
              <a:cs typeface="Arial" pitchFamily="34" charset="0"/>
            </a:endParaRPr>
          </a:p>
        </p:txBody>
      </p:sp>
      <p:sp>
        <p:nvSpPr>
          <p:cNvPr id="41" name="Rectangle 41"/>
          <p:cNvSpPr>
            <a:spLocks noChangeArrowheads="1"/>
          </p:cNvSpPr>
          <p:nvPr>
            <p:custDataLst>
              <p:tags r:id="rId13"/>
            </p:custDataLst>
          </p:nvPr>
        </p:nvSpPr>
        <p:spPr bwMode="gray">
          <a:xfrm>
            <a:off x="163489" y="1226280"/>
            <a:ext cx="562162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114300" lvl="1" indent="-112713" defTabSz="895350" fontAlgn="base">
              <a:spcBef>
                <a:spcPct val="0"/>
              </a:spcBef>
              <a:buClr>
                <a:schemeClr val="tx2"/>
              </a:buClr>
              <a:buSzPct val="100000"/>
              <a:buFont typeface="Arial" charset="0"/>
              <a:buChar char="▪"/>
            </a:pPr>
            <a:r>
              <a:rPr lang="en-US" sz="1200" dirty="0"/>
              <a:t>Participated in initial project kick-off calls across the project team and NYPA stakeholders </a:t>
            </a:r>
          </a:p>
          <a:p>
            <a:pPr marL="114300" lvl="1" indent="-112713" defTabSz="895350" fontAlgn="base">
              <a:spcBef>
                <a:spcPct val="0"/>
              </a:spcBef>
              <a:buClr>
                <a:schemeClr val="tx2"/>
              </a:buClr>
              <a:buSzPct val="100000"/>
              <a:buFont typeface="Arial" charset="0"/>
              <a:buChar char="▪"/>
            </a:pPr>
            <a:r>
              <a:rPr lang="en-US" sz="1200" dirty="0"/>
              <a:t>Coordinated initial project plan with other workstreams, including specific milestones for market and technology vendor analysis and deliverables</a:t>
            </a:r>
          </a:p>
          <a:p>
            <a:pPr marL="114300" lvl="1" indent="-112713" defTabSz="895350" fontAlgn="base">
              <a:spcBef>
                <a:spcPct val="0"/>
              </a:spcBef>
              <a:buClr>
                <a:schemeClr val="tx2"/>
              </a:buClr>
              <a:buSzPct val="100000"/>
              <a:buFont typeface="Arial" charset="0"/>
              <a:buChar char="▪"/>
            </a:pPr>
            <a:r>
              <a:rPr lang="en-US" sz="1200" dirty="0"/>
              <a:t>Provided general examples of DER business models</a:t>
            </a:r>
            <a:endParaRPr lang="en-US" sz="1200" dirty="0">
              <a:solidFill>
                <a:srgbClr val="000000"/>
              </a:solidFill>
              <a:cs typeface="Arial" pitchFamily="34" charset="0"/>
            </a:endParaRPr>
          </a:p>
        </p:txBody>
      </p:sp>
      <p:graphicFrame>
        <p:nvGraphicFramePr>
          <p:cNvPr id="42" name="Table 41"/>
          <p:cNvGraphicFramePr>
            <a:graphicFrameLocks noGrp="1"/>
          </p:cNvGraphicFramePr>
          <p:nvPr>
            <p:extLst>
              <p:ext uri="{D42A27DB-BD31-4B8C-83A1-F6EECF244321}">
                <p14:modId xmlns:p14="http://schemas.microsoft.com/office/powerpoint/2010/main" val="2384692289"/>
              </p:ext>
            </p:extLst>
          </p:nvPr>
        </p:nvGraphicFramePr>
        <p:xfrm>
          <a:off x="116113" y="3774489"/>
          <a:ext cx="8891586" cy="754380"/>
        </p:xfrm>
        <a:graphic>
          <a:graphicData uri="http://schemas.openxmlformats.org/drawingml/2006/table">
            <a:tbl>
              <a:tblPr firstRow="1" bandRow="1">
                <a:tableStyleId>{5C22544A-7EE6-4342-B048-85BDC9FD1C3A}</a:tableStyleId>
              </a:tblPr>
              <a:tblGrid>
                <a:gridCol w="1075465">
                  <a:extLst>
                    <a:ext uri="{9D8B030D-6E8A-4147-A177-3AD203B41FA5}">
                      <a16:colId xmlns:a16="http://schemas.microsoft.com/office/drawing/2014/main" val="20000"/>
                    </a:ext>
                  </a:extLst>
                </a:gridCol>
                <a:gridCol w="4218623">
                  <a:extLst>
                    <a:ext uri="{9D8B030D-6E8A-4147-A177-3AD203B41FA5}">
                      <a16:colId xmlns:a16="http://schemas.microsoft.com/office/drawing/2014/main" val="20001"/>
                    </a:ext>
                  </a:extLst>
                </a:gridCol>
                <a:gridCol w="2231166">
                  <a:extLst>
                    <a:ext uri="{9D8B030D-6E8A-4147-A177-3AD203B41FA5}">
                      <a16:colId xmlns:a16="http://schemas.microsoft.com/office/drawing/2014/main" val="20002"/>
                    </a:ext>
                  </a:extLst>
                </a:gridCol>
                <a:gridCol w="593361">
                  <a:extLst>
                    <a:ext uri="{9D8B030D-6E8A-4147-A177-3AD203B41FA5}">
                      <a16:colId xmlns:a16="http://schemas.microsoft.com/office/drawing/2014/main" val="20003"/>
                    </a:ext>
                  </a:extLst>
                </a:gridCol>
                <a:gridCol w="772971">
                  <a:extLst>
                    <a:ext uri="{9D8B030D-6E8A-4147-A177-3AD203B41FA5}">
                      <a16:colId xmlns:a16="http://schemas.microsoft.com/office/drawing/2014/main" val="20004"/>
                    </a:ext>
                  </a:extLst>
                </a:gridCol>
              </a:tblGrid>
              <a:tr h="205740">
                <a:tc>
                  <a:txBody>
                    <a:bodyPr/>
                    <a:lstStyle/>
                    <a:p>
                      <a:r>
                        <a:rPr lang="en-US" sz="1200" dirty="0"/>
                        <a:t>Issue</a:t>
                      </a:r>
                    </a:p>
                  </a:txBody>
                  <a:tcPr marL="68580" marR="68580" marT="34290" marB="34290"/>
                </a:tc>
                <a:tc>
                  <a:txBody>
                    <a:bodyPr/>
                    <a:lstStyle/>
                    <a:p>
                      <a:r>
                        <a:rPr lang="en-US" sz="1200" dirty="0"/>
                        <a:t>Description</a:t>
                      </a:r>
                    </a:p>
                  </a:txBody>
                  <a:tcPr marL="68580" marR="68580" marT="34290" marB="34290"/>
                </a:tc>
                <a:tc>
                  <a:txBody>
                    <a:bodyPr/>
                    <a:lstStyle/>
                    <a:p>
                      <a:r>
                        <a:rPr lang="en-US" sz="1200" dirty="0"/>
                        <a:t>Proposed Resolution</a:t>
                      </a:r>
                    </a:p>
                  </a:txBody>
                  <a:tcPr marL="68580" marR="68580" marT="34290" marB="34290"/>
                </a:tc>
                <a:tc>
                  <a:txBody>
                    <a:bodyPr/>
                    <a:lstStyle/>
                    <a:p>
                      <a:r>
                        <a:rPr lang="en-US" sz="1200" dirty="0"/>
                        <a:t>Owner</a:t>
                      </a:r>
                    </a:p>
                  </a:txBody>
                  <a:tcPr marL="68580" marR="68580" marT="34290" marB="34290"/>
                </a:tc>
                <a:tc>
                  <a:txBody>
                    <a:bodyPr/>
                    <a:lstStyle/>
                    <a:p>
                      <a:r>
                        <a:rPr lang="en-US" sz="1200" dirty="0"/>
                        <a:t>Timing</a:t>
                      </a:r>
                    </a:p>
                  </a:txBody>
                  <a:tcPr marL="68580" marR="68580" marT="34290" marB="34290"/>
                </a:tc>
                <a:extLst>
                  <a:ext uri="{0D108BD9-81ED-4DB2-BD59-A6C34878D82A}">
                    <a16:rowId xmlns:a16="http://schemas.microsoft.com/office/drawing/2014/main" val="10000"/>
                  </a:ext>
                </a:extLst>
              </a:tr>
              <a:tr h="205740">
                <a:tc>
                  <a:txBody>
                    <a:bodyPr/>
                    <a:lstStyle/>
                    <a:p>
                      <a:endParaRPr lang="en-US" sz="1200" dirty="0"/>
                    </a:p>
                  </a:txBody>
                  <a:tcPr marL="68580" marR="68580" marT="34290" marB="34290"/>
                </a:tc>
                <a:tc>
                  <a:txBody>
                    <a:bodyPr/>
                    <a:lstStyle/>
                    <a:p>
                      <a:endParaRPr lang="en-US" sz="1200" dirty="0"/>
                    </a:p>
                  </a:txBody>
                  <a:tcPr marL="68580" marR="68580" marT="34290" marB="34290"/>
                </a:tc>
                <a:tc>
                  <a:txBody>
                    <a:bodyPr/>
                    <a:lstStyle/>
                    <a:p>
                      <a:endParaRPr lang="en-US" sz="1200" dirty="0"/>
                    </a:p>
                  </a:txBody>
                  <a:tcPr marL="68580" marR="68580" marT="34290" marB="34290"/>
                </a:tc>
                <a:tc>
                  <a:txBody>
                    <a:bodyPr/>
                    <a:lstStyle/>
                    <a:p>
                      <a:endParaRPr lang="en-US" sz="1200" dirty="0"/>
                    </a:p>
                  </a:txBody>
                  <a:tcPr marL="68580" marR="68580" marT="34290" marB="34290"/>
                </a:tc>
                <a:tc>
                  <a:txBody>
                    <a:bodyPr/>
                    <a:lstStyle/>
                    <a:p>
                      <a:endParaRPr lang="en-US" sz="1200" dirty="0"/>
                    </a:p>
                  </a:txBody>
                  <a:tcPr marL="68580" marR="68580" marT="34290" marB="34290"/>
                </a:tc>
                <a:extLst>
                  <a:ext uri="{0D108BD9-81ED-4DB2-BD59-A6C34878D82A}">
                    <a16:rowId xmlns:a16="http://schemas.microsoft.com/office/drawing/2014/main" val="10001"/>
                  </a:ext>
                </a:extLst>
              </a:tr>
              <a:tr h="205740">
                <a:tc>
                  <a:txBody>
                    <a:bodyPr/>
                    <a:lstStyle/>
                    <a:p>
                      <a:endParaRPr lang="en-US" sz="1200" dirty="0"/>
                    </a:p>
                  </a:txBody>
                  <a:tcPr marL="68580" marR="68580" marT="34290" marB="34290"/>
                </a:tc>
                <a:tc>
                  <a:txBody>
                    <a:bodyPr/>
                    <a:lstStyle/>
                    <a:p>
                      <a:endParaRPr lang="en-US" sz="1200" dirty="0"/>
                    </a:p>
                  </a:txBody>
                  <a:tcPr marL="68580" marR="68580" marT="34290" marB="34290"/>
                </a:tc>
                <a:tc>
                  <a:txBody>
                    <a:bodyPr/>
                    <a:lstStyle/>
                    <a:p>
                      <a:endParaRPr lang="en-US" sz="1200" dirty="0"/>
                    </a:p>
                  </a:txBody>
                  <a:tcPr marL="68580" marR="68580" marT="34290" marB="34290"/>
                </a:tc>
                <a:tc>
                  <a:txBody>
                    <a:bodyPr/>
                    <a:lstStyle/>
                    <a:p>
                      <a:endParaRPr lang="en-US" sz="1200" dirty="0"/>
                    </a:p>
                  </a:txBody>
                  <a:tcPr marL="68580" marR="68580" marT="34290" marB="34290"/>
                </a:tc>
                <a:tc>
                  <a:txBody>
                    <a:bodyPr/>
                    <a:lstStyle/>
                    <a:p>
                      <a:endParaRPr lang="en-US" sz="1200" dirty="0"/>
                    </a:p>
                  </a:txBody>
                  <a:tcPr marL="68580" marR="68580" marT="34290" marB="34290"/>
                </a:tc>
                <a:extLst>
                  <a:ext uri="{0D108BD9-81ED-4DB2-BD59-A6C34878D82A}">
                    <a16:rowId xmlns:a16="http://schemas.microsoft.com/office/drawing/2014/main" val="10002"/>
                  </a:ext>
                </a:extLst>
              </a:tr>
            </a:tbl>
          </a:graphicData>
        </a:graphic>
      </p:graphicFrame>
      <p:sp>
        <p:nvSpPr>
          <p:cNvPr id="51" name="Rectangle 41"/>
          <p:cNvSpPr>
            <a:spLocks noChangeArrowheads="1"/>
          </p:cNvSpPr>
          <p:nvPr>
            <p:custDataLst>
              <p:tags r:id="rId14"/>
            </p:custDataLst>
          </p:nvPr>
        </p:nvSpPr>
        <p:spPr bwMode="gray">
          <a:xfrm>
            <a:off x="163489" y="2744588"/>
            <a:ext cx="562162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114300" lvl="1" indent="-112713" defTabSz="895350" fontAlgn="base">
              <a:spcBef>
                <a:spcPct val="0"/>
              </a:spcBef>
              <a:buClr>
                <a:schemeClr val="tx2"/>
              </a:buClr>
              <a:buSzPct val="100000"/>
              <a:buFont typeface="Arial" charset="0"/>
              <a:buChar char="▪"/>
            </a:pPr>
            <a:r>
              <a:rPr lang="en-US" sz="1200" dirty="0"/>
              <a:t>Begin to identify potential platform and DER provider survey candidates</a:t>
            </a:r>
          </a:p>
          <a:p>
            <a:pPr marL="114300" lvl="1" indent="-112713" defTabSz="895350" fontAlgn="base">
              <a:spcBef>
                <a:spcPct val="0"/>
              </a:spcBef>
              <a:buClr>
                <a:schemeClr val="tx2"/>
              </a:buClr>
              <a:buSzPct val="100000"/>
              <a:buFont typeface="Arial" charset="0"/>
              <a:buChar char="▪"/>
            </a:pPr>
            <a:r>
              <a:rPr lang="en-US" sz="1200" dirty="0"/>
              <a:t>Begin to define platform provider survey questions</a:t>
            </a:r>
          </a:p>
          <a:p>
            <a:pPr marL="114300" lvl="1" indent="-112713" defTabSz="895350" fontAlgn="base">
              <a:spcBef>
                <a:spcPct val="0"/>
              </a:spcBef>
              <a:buClr>
                <a:schemeClr val="tx2"/>
              </a:buClr>
              <a:buSzPct val="100000"/>
              <a:buFont typeface="Arial" charset="0"/>
              <a:buChar char="▪"/>
            </a:pPr>
            <a:r>
              <a:rPr lang="en-US" sz="1200" dirty="0"/>
              <a:t>Begin to define DER service provider survey questions </a:t>
            </a:r>
          </a:p>
        </p:txBody>
      </p:sp>
      <p:sp>
        <p:nvSpPr>
          <p:cNvPr id="62" name="Rectangle 35"/>
          <p:cNvSpPr>
            <a:spLocks noChangeArrowheads="1"/>
          </p:cNvSpPr>
          <p:nvPr>
            <p:custDataLst>
              <p:tags r:id="rId15"/>
            </p:custDataLst>
          </p:nvPr>
        </p:nvSpPr>
        <p:spPr bwMode="gray">
          <a:xfrm>
            <a:off x="8104906" y="1213137"/>
            <a:ext cx="573993"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GB" sz="1200" b="1" dirty="0">
                <a:solidFill>
                  <a:srgbClr val="000000"/>
                </a:solidFill>
                <a:cs typeface="Arial" pitchFamily="34" charset="0"/>
              </a:rPr>
              <a:t>Target</a:t>
            </a:r>
            <a:endParaRPr lang="en-US" sz="1200" dirty="0">
              <a:solidFill>
                <a:srgbClr val="000000"/>
              </a:solidFill>
              <a:cs typeface="Arial" pitchFamily="34" charset="0"/>
            </a:endParaRPr>
          </a:p>
        </p:txBody>
      </p:sp>
      <p:sp>
        <p:nvSpPr>
          <p:cNvPr id="19" name="Line 36"/>
          <p:cNvSpPr>
            <a:spLocks noChangeShapeType="1"/>
          </p:cNvSpPr>
          <p:nvPr/>
        </p:nvSpPr>
        <p:spPr bwMode="gray">
          <a:xfrm>
            <a:off x="8599586" y="1388858"/>
            <a:ext cx="40811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9973" tIns="34987" rIns="69973" bIns="34987" numCol="1" anchor="ctr" anchorCtr="0" compatLnSpc="1">
            <a:prstTxWarp prst="textNoShape">
              <a:avLst/>
            </a:prstTxWarp>
          </a:bodyPr>
          <a:lstStyle/>
          <a:p>
            <a:pPr fontAlgn="base">
              <a:spcBef>
                <a:spcPct val="0"/>
              </a:spcBef>
              <a:spcAft>
                <a:spcPct val="0"/>
              </a:spcAft>
            </a:pPr>
            <a:endParaRPr lang="en-US" sz="1200" b="1" dirty="0">
              <a:solidFill>
                <a:srgbClr val="000000"/>
              </a:solidFill>
            </a:endParaRPr>
          </a:p>
        </p:txBody>
      </p:sp>
      <p:sp>
        <p:nvSpPr>
          <p:cNvPr id="55" name="Line 36"/>
          <p:cNvSpPr>
            <a:spLocks noChangeShapeType="1"/>
          </p:cNvSpPr>
          <p:nvPr/>
        </p:nvSpPr>
        <p:spPr bwMode="gray">
          <a:xfrm>
            <a:off x="7437171" y="1388858"/>
            <a:ext cx="592667"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9973" tIns="34987" rIns="69973" bIns="34987" numCol="1" anchor="ctr" anchorCtr="0" compatLnSpc="1">
            <a:prstTxWarp prst="textNoShape">
              <a:avLst/>
            </a:prstTxWarp>
          </a:bodyPr>
          <a:lstStyle/>
          <a:p>
            <a:pPr fontAlgn="base">
              <a:spcBef>
                <a:spcPct val="0"/>
              </a:spcBef>
              <a:spcAft>
                <a:spcPct val="0"/>
              </a:spcAft>
            </a:pPr>
            <a:endParaRPr lang="en-US" sz="1200" b="1" dirty="0">
              <a:solidFill>
                <a:srgbClr val="000000"/>
              </a:solidFill>
            </a:endParaRPr>
          </a:p>
        </p:txBody>
      </p:sp>
      <p:grpSp>
        <p:nvGrpSpPr>
          <p:cNvPr id="5" name="Group 4"/>
          <p:cNvGrpSpPr/>
          <p:nvPr/>
        </p:nvGrpSpPr>
        <p:grpSpPr>
          <a:xfrm>
            <a:off x="7612309" y="1481408"/>
            <a:ext cx="1283963" cy="184666"/>
            <a:chOff x="7577929" y="1481408"/>
            <a:chExt cx="1283963" cy="184666"/>
          </a:xfrm>
        </p:grpSpPr>
        <p:sp>
          <p:nvSpPr>
            <p:cNvPr id="26" name="Rectangle 63"/>
            <p:cNvSpPr>
              <a:spLocks noChangeArrowheads="1"/>
            </p:cNvSpPr>
            <p:nvPr>
              <p:custDataLst>
                <p:tags r:id="rId36"/>
              </p:custDataLst>
            </p:nvPr>
          </p:nvSpPr>
          <p:spPr bwMode="gray">
            <a:xfrm>
              <a:off x="7577929" y="1481408"/>
              <a:ext cx="451909"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dirty="0">
                  <a:solidFill>
                    <a:srgbClr val="000000"/>
                  </a:solidFill>
                  <a:cs typeface="Arial" pitchFamily="34" charset="0"/>
                </a:rPr>
                <a:t>2/24</a:t>
              </a:r>
              <a:endParaRPr lang="en-US" sz="1200" dirty="0">
                <a:solidFill>
                  <a:srgbClr val="000000"/>
                </a:solidFill>
                <a:cs typeface="Arial" pitchFamily="34" charset="0"/>
              </a:endParaRPr>
            </a:p>
          </p:txBody>
        </p:sp>
        <p:sp>
          <p:nvSpPr>
            <p:cNvPr id="53" name="Oval 111"/>
            <p:cNvSpPr>
              <a:spLocks noChangeArrowheads="1"/>
            </p:cNvSpPr>
            <p:nvPr>
              <p:custDataLst>
                <p:tags r:id="rId37"/>
              </p:custDataLst>
            </p:nvPr>
          </p:nvSpPr>
          <p:spPr bwMode="gray">
            <a:xfrm>
              <a:off x="8745394" y="1515669"/>
              <a:ext cx="116498" cy="116144"/>
            </a:xfrm>
            <a:prstGeom prst="ellipse">
              <a:avLst/>
            </a:prstGeom>
            <a:solidFill>
              <a:srgbClr val="009900"/>
            </a:solidFill>
            <a:ln w="9525">
              <a:solidFill>
                <a:srgbClr val="009900"/>
              </a:solidFill>
              <a:round/>
              <a:headEnd/>
              <a:tailEnd/>
            </a:ln>
            <a:effectLst/>
            <a:scene3d>
              <a:camera prst="orthographicFront"/>
              <a:lightRig rig="balanced" dir="t"/>
            </a:scene3d>
            <a:sp3d>
              <a:bevelT/>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9973" tIns="34987" rIns="69973" bIns="34987" numCol="1" anchor="ctr" anchorCtr="0" compatLnSpc="1">
              <a:prstTxWarp prst="textNoShape">
                <a:avLst/>
              </a:prstTxWarp>
            </a:bodyPr>
            <a:lstStyle/>
            <a:p>
              <a:pPr algn="ctr" fontAlgn="base">
                <a:spcBef>
                  <a:spcPct val="0"/>
                </a:spcBef>
                <a:spcAft>
                  <a:spcPct val="0"/>
                </a:spcAft>
              </a:pPr>
              <a:r>
                <a:rPr lang="en-US" sz="1200" b="1" dirty="0">
                  <a:solidFill>
                    <a:schemeClr val="bg1"/>
                  </a:solidFill>
                </a:rPr>
                <a:t>G</a:t>
              </a:r>
            </a:p>
          </p:txBody>
        </p:sp>
        <p:sp>
          <p:nvSpPr>
            <p:cNvPr id="65" name="Rectangle 63"/>
            <p:cNvSpPr>
              <a:spLocks noChangeArrowheads="1"/>
            </p:cNvSpPr>
            <p:nvPr>
              <p:custDataLst>
                <p:tags r:id="rId38"/>
              </p:custDataLst>
            </p:nvPr>
          </p:nvSpPr>
          <p:spPr bwMode="gray">
            <a:xfrm>
              <a:off x="8213337" y="1481408"/>
              <a:ext cx="451909"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dirty="0">
                  <a:solidFill>
                    <a:srgbClr val="000000"/>
                  </a:solidFill>
                  <a:cs typeface="Arial" pitchFamily="34" charset="0"/>
                </a:rPr>
                <a:t>2/24</a:t>
              </a:r>
              <a:endParaRPr lang="en-US" sz="1200" dirty="0">
                <a:solidFill>
                  <a:srgbClr val="000000"/>
                </a:solidFill>
                <a:cs typeface="Arial" pitchFamily="34" charset="0"/>
              </a:endParaRPr>
            </a:p>
          </p:txBody>
        </p:sp>
      </p:grpSp>
      <p:sp>
        <p:nvSpPr>
          <p:cNvPr id="72" name="Line 36"/>
          <p:cNvSpPr>
            <a:spLocks noChangeShapeType="1"/>
          </p:cNvSpPr>
          <p:nvPr/>
        </p:nvSpPr>
        <p:spPr bwMode="gray">
          <a:xfrm>
            <a:off x="8086232" y="1388858"/>
            <a:ext cx="461157"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9973" tIns="34987" rIns="69973" bIns="34987" numCol="1" anchor="ctr" anchorCtr="0" compatLnSpc="1">
            <a:prstTxWarp prst="textNoShape">
              <a:avLst/>
            </a:prstTxWarp>
          </a:bodyPr>
          <a:lstStyle/>
          <a:p>
            <a:pPr fontAlgn="base">
              <a:spcBef>
                <a:spcPct val="0"/>
              </a:spcBef>
              <a:spcAft>
                <a:spcPct val="0"/>
              </a:spcAft>
            </a:pPr>
            <a:endParaRPr lang="en-US" sz="1200" b="1" dirty="0">
              <a:solidFill>
                <a:srgbClr val="000000"/>
              </a:solidFill>
            </a:endParaRPr>
          </a:p>
        </p:txBody>
      </p:sp>
      <p:sp>
        <p:nvSpPr>
          <p:cNvPr id="73" name="Rectangle 7"/>
          <p:cNvSpPr>
            <a:spLocks noChangeArrowheads="1"/>
          </p:cNvSpPr>
          <p:nvPr>
            <p:custDataLst>
              <p:tags r:id="rId16"/>
            </p:custDataLst>
          </p:nvPr>
        </p:nvSpPr>
        <p:spPr bwMode="gray">
          <a:xfrm>
            <a:off x="7652562" y="676245"/>
            <a:ext cx="1045914"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b="1" dirty="0">
                <a:cs typeface="Arial" pitchFamily="34" charset="0"/>
              </a:rPr>
              <a:t>Overall Status</a:t>
            </a:r>
            <a:endParaRPr lang="en-US" sz="1200" dirty="0">
              <a:cs typeface="Arial" pitchFamily="34" charset="0"/>
            </a:endParaRPr>
          </a:p>
        </p:txBody>
      </p:sp>
      <p:sp>
        <p:nvSpPr>
          <p:cNvPr id="74" name="Oval 111"/>
          <p:cNvSpPr>
            <a:spLocks noChangeArrowheads="1"/>
          </p:cNvSpPr>
          <p:nvPr>
            <p:custDataLst>
              <p:tags r:id="rId17"/>
            </p:custDataLst>
          </p:nvPr>
        </p:nvSpPr>
        <p:spPr bwMode="gray">
          <a:xfrm>
            <a:off x="8677786" y="679960"/>
            <a:ext cx="205387" cy="204761"/>
          </a:xfrm>
          <a:prstGeom prst="ellipse">
            <a:avLst/>
          </a:prstGeom>
          <a:solidFill>
            <a:srgbClr val="009900"/>
          </a:solidFill>
          <a:ln w="9525">
            <a:solidFill>
              <a:srgbClr val="009900"/>
            </a:solidFill>
            <a:round/>
            <a:headEnd/>
            <a:tailEnd/>
          </a:ln>
          <a:effectLst/>
          <a:scene3d>
            <a:camera prst="orthographicFront"/>
            <a:lightRig rig="balanced" dir="t"/>
          </a:scene3d>
          <a:sp3d>
            <a:bevelT/>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9973" tIns="34987" rIns="69973" bIns="34987" numCol="1" anchor="ctr" anchorCtr="0" compatLnSpc="1">
            <a:prstTxWarp prst="textNoShape">
              <a:avLst/>
            </a:prstTxWarp>
          </a:bodyPr>
          <a:lstStyle/>
          <a:p>
            <a:pPr algn="ctr" fontAlgn="base">
              <a:spcBef>
                <a:spcPct val="0"/>
              </a:spcBef>
              <a:spcAft>
                <a:spcPct val="0"/>
              </a:spcAft>
            </a:pPr>
            <a:r>
              <a:rPr lang="en-US" sz="1050" b="1" dirty="0">
                <a:solidFill>
                  <a:schemeClr val="bg1"/>
                </a:solidFill>
              </a:rPr>
              <a:t>G</a:t>
            </a:r>
          </a:p>
        </p:txBody>
      </p:sp>
      <p:grpSp>
        <p:nvGrpSpPr>
          <p:cNvPr id="102" name="Group 101"/>
          <p:cNvGrpSpPr/>
          <p:nvPr/>
        </p:nvGrpSpPr>
        <p:grpSpPr>
          <a:xfrm>
            <a:off x="7612309" y="1753483"/>
            <a:ext cx="1283963" cy="184666"/>
            <a:chOff x="7577929" y="1481408"/>
            <a:chExt cx="1283963" cy="184666"/>
          </a:xfrm>
        </p:grpSpPr>
        <p:sp>
          <p:nvSpPr>
            <p:cNvPr id="103" name="Rectangle 63"/>
            <p:cNvSpPr>
              <a:spLocks noChangeArrowheads="1"/>
            </p:cNvSpPr>
            <p:nvPr>
              <p:custDataLst>
                <p:tags r:id="rId33"/>
              </p:custDataLst>
            </p:nvPr>
          </p:nvSpPr>
          <p:spPr bwMode="gray">
            <a:xfrm>
              <a:off x="7577929" y="1481408"/>
              <a:ext cx="451909"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dirty="0">
                  <a:solidFill>
                    <a:srgbClr val="000000"/>
                  </a:solidFill>
                  <a:cs typeface="Arial" pitchFamily="34" charset="0"/>
                </a:rPr>
                <a:t>3/3</a:t>
              </a:r>
              <a:endParaRPr lang="en-US" sz="1200" dirty="0">
                <a:solidFill>
                  <a:srgbClr val="000000"/>
                </a:solidFill>
                <a:cs typeface="Arial" pitchFamily="34" charset="0"/>
              </a:endParaRPr>
            </a:p>
          </p:txBody>
        </p:sp>
        <p:sp>
          <p:nvSpPr>
            <p:cNvPr id="104" name="Oval 111"/>
            <p:cNvSpPr>
              <a:spLocks noChangeArrowheads="1"/>
            </p:cNvSpPr>
            <p:nvPr>
              <p:custDataLst>
                <p:tags r:id="rId34"/>
              </p:custDataLst>
            </p:nvPr>
          </p:nvSpPr>
          <p:spPr bwMode="gray">
            <a:xfrm>
              <a:off x="8745394" y="1515669"/>
              <a:ext cx="116498" cy="116144"/>
            </a:xfrm>
            <a:prstGeom prst="ellipse">
              <a:avLst/>
            </a:prstGeom>
            <a:solidFill>
              <a:srgbClr val="009900"/>
            </a:solidFill>
            <a:ln w="9525">
              <a:solidFill>
                <a:srgbClr val="009900"/>
              </a:solidFill>
              <a:round/>
              <a:headEnd/>
              <a:tailEnd/>
            </a:ln>
            <a:effectLst/>
            <a:scene3d>
              <a:camera prst="orthographicFront"/>
              <a:lightRig rig="balanced" dir="t"/>
            </a:scene3d>
            <a:sp3d>
              <a:bevelT/>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9973" tIns="34987" rIns="69973" bIns="34987" numCol="1" anchor="ctr" anchorCtr="0" compatLnSpc="1">
              <a:prstTxWarp prst="textNoShape">
                <a:avLst/>
              </a:prstTxWarp>
            </a:bodyPr>
            <a:lstStyle/>
            <a:p>
              <a:pPr algn="ctr" fontAlgn="base">
                <a:spcBef>
                  <a:spcPct val="0"/>
                </a:spcBef>
                <a:spcAft>
                  <a:spcPct val="0"/>
                </a:spcAft>
              </a:pPr>
              <a:r>
                <a:rPr lang="en-US" sz="1200" b="1" dirty="0">
                  <a:solidFill>
                    <a:schemeClr val="bg1"/>
                  </a:solidFill>
                </a:rPr>
                <a:t>G</a:t>
              </a:r>
            </a:p>
          </p:txBody>
        </p:sp>
        <p:sp>
          <p:nvSpPr>
            <p:cNvPr id="105" name="Rectangle 63"/>
            <p:cNvSpPr>
              <a:spLocks noChangeArrowheads="1"/>
            </p:cNvSpPr>
            <p:nvPr>
              <p:custDataLst>
                <p:tags r:id="rId35"/>
              </p:custDataLst>
            </p:nvPr>
          </p:nvSpPr>
          <p:spPr bwMode="gray">
            <a:xfrm>
              <a:off x="8213337" y="1481408"/>
              <a:ext cx="451909"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dirty="0">
                  <a:solidFill>
                    <a:srgbClr val="000000"/>
                  </a:solidFill>
                  <a:cs typeface="Arial" pitchFamily="34" charset="0"/>
                </a:rPr>
                <a:t>3/3</a:t>
              </a:r>
              <a:endParaRPr lang="en-US" sz="1200" dirty="0">
                <a:solidFill>
                  <a:srgbClr val="000000"/>
                </a:solidFill>
                <a:cs typeface="Arial" pitchFamily="34" charset="0"/>
              </a:endParaRPr>
            </a:p>
          </p:txBody>
        </p:sp>
      </p:grpSp>
      <p:grpSp>
        <p:nvGrpSpPr>
          <p:cNvPr id="106" name="Group 105"/>
          <p:cNvGrpSpPr/>
          <p:nvPr/>
        </p:nvGrpSpPr>
        <p:grpSpPr>
          <a:xfrm>
            <a:off x="7612309" y="2044552"/>
            <a:ext cx="1283963" cy="184666"/>
            <a:chOff x="7577929" y="1481408"/>
            <a:chExt cx="1283963" cy="184666"/>
          </a:xfrm>
        </p:grpSpPr>
        <p:sp>
          <p:nvSpPr>
            <p:cNvPr id="107" name="Rectangle 63"/>
            <p:cNvSpPr>
              <a:spLocks noChangeArrowheads="1"/>
            </p:cNvSpPr>
            <p:nvPr>
              <p:custDataLst>
                <p:tags r:id="rId30"/>
              </p:custDataLst>
            </p:nvPr>
          </p:nvSpPr>
          <p:spPr bwMode="gray">
            <a:xfrm>
              <a:off x="7577929" y="1481408"/>
              <a:ext cx="451909"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dirty="0">
                  <a:solidFill>
                    <a:srgbClr val="000000"/>
                  </a:solidFill>
                  <a:cs typeface="Arial" pitchFamily="34" charset="0"/>
                </a:rPr>
                <a:t>3/10</a:t>
              </a:r>
              <a:endParaRPr lang="en-US" sz="1200" dirty="0">
                <a:solidFill>
                  <a:srgbClr val="000000"/>
                </a:solidFill>
                <a:cs typeface="Arial" pitchFamily="34" charset="0"/>
              </a:endParaRPr>
            </a:p>
          </p:txBody>
        </p:sp>
        <p:sp>
          <p:nvSpPr>
            <p:cNvPr id="108" name="Oval 111"/>
            <p:cNvSpPr>
              <a:spLocks noChangeArrowheads="1"/>
            </p:cNvSpPr>
            <p:nvPr>
              <p:custDataLst>
                <p:tags r:id="rId31"/>
              </p:custDataLst>
            </p:nvPr>
          </p:nvSpPr>
          <p:spPr bwMode="gray">
            <a:xfrm>
              <a:off x="8745394" y="1515669"/>
              <a:ext cx="116498" cy="116144"/>
            </a:xfrm>
            <a:prstGeom prst="ellipse">
              <a:avLst/>
            </a:prstGeom>
            <a:solidFill>
              <a:srgbClr val="009900"/>
            </a:solidFill>
            <a:ln w="9525">
              <a:solidFill>
                <a:srgbClr val="009900"/>
              </a:solidFill>
              <a:round/>
              <a:headEnd/>
              <a:tailEnd/>
            </a:ln>
            <a:effectLst/>
            <a:scene3d>
              <a:camera prst="orthographicFront"/>
              <a:lightRig rig="balanced" dir="t"/>
            </a:scene3d>
            <a:sp3d>
              <a:bevelT/>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9973" tIns="34987" rIns="69973" bIns="34987" numCol="1" anchor="ctr" anchorCtr="0" compatLnSpc="1">
              <a:prstTxWarp prst="textNoShape">
                <a:avLst/>
              </a:prstTxWarp>
            </a:bodyPr>
            <a:lstStyle/>
            <a:p>
              <a:pPr algn="ctr" fontAlgn="base">
                <a:spcBef>
                  <a:spcPct val="0"/>
                </a:spcBef>
                <a:spcAft>
                  <a:spcPct val="0"/>
                </a:spcAft>
              </a:pPr>
              <a:r>
                <a:rPr lang="en-US" sz="1200" b="1" dirty="0">
                  <a:solidFill>
                    <a:schemeClr val="bg1"/>
                  </a:solidFill>
                </a:rPr>
                <a:t>G</a:t>
              </a:r>
            </a:p>
          </p:txBody>
        </p:sp>
        <p:sp>
          <p:nvSpPr>
            <p:cNvPr id="109" name="Rectangle 63"/>
            <p:cNvSpPr>
              <a:spLocks noChangeArrowheads="1"/>
            </p:cNvSpPr>
            <p:nvPr>
              <p:custDataLst>
                <p:tags r:id="rId32"/>
              </p:custDataLst>
            </p:nvPr>
          </p:nvSpPr>
          <p:spPr bwMode="gray">
            <a:xfrm>
              <a:off x="8213337" y="1481408"/>
              <a:ext cx="451909"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dirty="0">
                  <a:solidFill>
                    <a:srgbClr val="000000"/>
                  </a:solidFill>
                  <a:cs typeface="Arial" pitchFamily="34" charset="0"/>
                </a:rPr>
                <a:t>3/10</a:t>
              </a:r>
              <a:endParaRPr lang="en-US" sz="1200" dirty="0">
                <a:solidFill>
                  <a:srgbClr val="000000"/>
                </a:solidFill>
                <a:cs typeface="Arial" pitchFamily="34" charset="0"/>
              </a:endParaRPr>
            </a:p>
          </p:txBody>
        </p:sp>
      </p:grpSp>
      <p:grpSp>
        <p:nvGrpSpPr>
          <p:cNvPr id="110" name="Group 109"/>
          <p:cNvGrpSpPr/>
          <p:nvPr/>
        </p:nvGrpSpPr>
        <p:grpSpPr>
          <a:xfrm>
            <a:off x="7612309" y="2315774"/>
            <a:ext cx="1283963" cy="184666"/>
            <a:chOff x="7577929" y="1481408"/>
            <a:chExt cx="1283963" cy="184666"/>
          </a:xfrm>
        </p:grpSpPr>
        <p:sp>
          <p:nvSpPr>
            <p:cNvPr id="111" name="Rectangle 63"/>
            <p:cNvSpPr>
              <a:spLocks noChangeArrowheads="1"/>
            </p:cNvSpPr>
            <p:nvPr>
              <p:custDataLst>
                <p:tags r:id="rId27"/>
              </p:custDataLst>
            </p:nvPr>
          </p:nvSpPr>
          <p:spPr bwMode="gray">
            <a:xfrm>
              <a:off x="7577929" y="1481408"/>
              <a:ext cx="451909"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dirty="0">
                  <a:solidFill>
                    <a:srgbClr val="000000"/>
                  </a:solidFill>
                  <a:cs typeface="Arial" pitchFamily="34" charset="0"/>
                </a:rPr>
                <a:t>3/31</a:t>
              </a:r>
              <a:endParaRPr lang="en-US" sz="1200" dirty="0">
                <a:solidFill>
                  <a:srgbClr val="000000"/>
                </a:solidFill>
                <a:cs typeface="Arial" pitchFamily="34" charset="0"/>
              </a:endParaRPr>
            </a:p>
          </p:txBody>
        </p:sp>
        <p:sp>
          <p:nvSpPr>
            <p:cNvPr id="112" name="Oval 111"/>
            <p:cNvSpPr>
              <a:spLocks noChangeArrowheads="1"/>
            </p:cNvSpPr>
            <p:nvPr>
              <p:custDataLst>
                <p:tags r:id="rId28"/>
              </p:custDataLst>
            </p:nvPr>
          </p:nvSpPr>
          <p:spPr bwMode="gray">
            <a:xfrm>
              <a:off x="8745394" y="1515669"/>
              <a:ext cx="116498" cy="116144"/>
            </a:xfrm>
            <a:prstGeom prst="ellipse">
              <a:avLst/>
            </a:prstGeom>
            <a:solidFill>
              <a:srgbClr val="009900"/>
            </a:solidFill>
            <a:ln w="9525">
              <a:solidFill>
                <a:srgbClr val="009900"/>
              </a:solidFill>
              <a:round/>
              <a:headEnd/>
              <a:tailEnd/>
            </a:ln>
            <a:effectLst/>
            <a:scene3d>
              <a:camera prst="orthographicFront"/>
              <a:lightRig rig="balanced" dir="t"/>
            </a:scene3d>
            <a:sp3d>
              <a:bevelT/>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9973" tIns="34987" rIns="69973" bIns="34987" numCol="1" anchor="ctr" anchorCtr="0" compatLnSpc="1">
              <a:prstTxWarp prst="textNoShape">
                <a:avLst/>
              </a:prstTxWarp>
            </a:bodyPr>
            <a:lstStyle/>
            <a:p>
              <a:pPr algn="ctr" fontAlgn="base">
                <a:spcBef>
                  <a:spcPct val="0"/>
                </a:spcBef>
                <a:spcAft>
                  <a:spcPct val="0"/>
                </a:spcAft>
              </a:pPr>
              <a:r>
                <a:rPr lang="en-US" sz="1200" b="1" dirty="0">
                  <a:solidFill>
                    <a:schemeClr val="bg1"/>
                  </a:solidFill>
                </a:rPr>
                <a:t>G</a:t>
              </a:r>
            </a:p>
          </p:txBody>
        </p:sp>
        <p:sp>
          <p:nvSpPr>
            <p:cNvPr id="113" name="Rectangle 63"/>
            <p:cNvSpPr>
              <a:spLocks noChangeArrowheads="1"/>
            </p:cNvSpPr>
            <p:nvPr>
              <p:custDataLst>
                <p:tags r:id="rId29"/>
              </p:custDataLst>
            </p:nvPr>
          </p:nvSpPr>
          <p:spPr bwMode="gray">
            <a:xfrm>
              <a:off x="8213337" y="1481408"/>
              <a:ext cx="451909"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dirty="0">
                  <a:solidFill>
                    <a:srgbClr val="000000"/>
                  </a:solidFill>
                  <a:cs typeface="Arial" pitchFamily="34" charset="0"/>
                </a:rPr>
                <a:t>3/31</a:t>
              </a:r>
              <a:endParaRPr lang="en-US" sz="1200" dirty="0">
                <a:solidFill>
                  <a:srgbClr val="000000"/>
                </a:solidFill>
                <a:cs typeface="Arial" pitchFamily="34" charset="0"/>
              </a:endParaRPr>
            </a:p>
          </p:txBody>
        </p:sp>
      </p:grpSp>
      <p:grpSp>
        <p:nvGrpSpPr>
          <p:cNvPr id="114" name="Group 113"/>
          <p:cNvGrpSpPr/>
          <p:nvPr/>
        </p:nvGrpSpPr>
        <p:grpSpPr>
          <a:xfrm>
            <a:off x="7618948" y="2536549"/>
            <a:ext cx="1283963" cy="184666"/>
            <a:chOff x="7577929" y="1481408"/>
            <a:chExt cx="1283963" cy="184666"/>
          </a:xfrm>
        </p:grpSpPr>
        <p:sp>
          <p:nvSpPr>
            <p:cNvPr id="115" name="Rectangle 63"/>
            <p:cNvSpPr>
              <a:spLocks noChangeArrowheads="1"/>
            </p:cNvSpPr>
            <p:nvPr>
              <p:custDataLst>
                <p:tags r:id="rId24"/>
              </p:custDataLst>
            </p:nvPr>
          </p:nvSpPr>
          <p:spPr bwMode="gray">
            <a:xfrm>
              <a:off x="7577929" y="1481408"/>
              <a:ext cx="451909"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dirty="0">
                  <a:solidFill>
                    <a:srgbClr val="000000"/>
                  </a:solidFill>
                  <a:cs typeface="Arial" pitchFamily="34" charset="0"/>
                </a:rPr>
                <a:t>3/31</a:t>
              </a:r>
              <a:endParaRPr lang="en-US" sz="1200" dirty="0">
                <a:solidFill>
                  <a:srgbClr val="000000"/>
                </a:solidFill>
                <a:cs typeface="Arial" pitchFamily="34" charset="0"/>
              </a:endParaRPr>
            </a:p>
          </p:txBody>
        </p:sp>
        <p:sp>
          <p:nvSpPr>
            <p:cNvPr id="116" name="Oval 111"/>
            <p:cNvSpPr>
              <a:spLocks noChangeArrowheads="1"/>
            </p:cNvSpPr>
            <p:nvPr>
              <p:custDataLst>
                <p:tags r:id="rId25"/>
              </p:custDataLst>
            </p:nvPr>
          </p:nvSpPr>
          <p:spPr bwMode="gray">
            <a:xfrm>
              <a:off x="8745394" y="1515669"/>
              <a:ext cx="116498" cy="116144"/>
            </a:xfrm>
            <a:prstGeom prst="ellipse">
              <a:avLst/>
            </a:prstGeom>
            <a:solidFill>
              <a:srgbClr val="009900"/>
            </a:solidFill>
            <a:ln w="9525">
              <a:solidFill>
                <a:srgbClr val="009900"/>
              </a:solidFill>
              <a:round/>
              <a:headEnd/>
              <a:tailEnd/>
            </a:ln>
            <a:effectLst/>
            <a:scene3d>
              <a:camera prst="orthographicFront"/>
              <a:lightRig rig="balanced" dir="t"/>
            </a:scene3d>
            <a:sp3d>
              <a:bevelT/>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9973" tIns="34987" rIns="69973" bIns="34987" numCol="1" anchor="ctr" anchorCtr="0" compatLnSpc="1">
              <a:prstTxWarp prst="textNoShape">
                <a:avLst/>
              </a:prstTxWarp>
            </a:bodyPr>
            <a:lstStyle/>
            <a:p>
              <a:pPr algn="ctr" fontAlgn="base">
                <a:spcBef>
                  <a:spcPct val="0"/>
                </a:spcBef>
                <a:spcAft>
                  <a:spcPct val="0"/>
                </a:spcAft>
              </a:pPr>
              <a:r>
                <a:rPr lang="en-US" sz="1200" b="1" dirty="0">
                  <a:solidFill>
                    <a:schemeClr val="bg1"/>
                  </a:solidFill>
                </a:rPr>
                <a:t>G</a:t>
              </a:r>
            </a:p>
          </p:txBody>
        </p:sp>
        <p:sp>
          <p:nvSpPr>
            <p:cNvPr id="117" name="Rectangle 63"/>
            <p:cNvSpPr>
              <a:spLocks noChangeArrowheads="1"/>
            </p:cNvSpPr>
            <p:nvPr>
              <p:custDataLst>
                <p:tags r:id="rId26"/>
              </p:custDataLst>
            </p:nvPr>
          </p:nvSpPr>
          <p:spPr bwMode="gray">
            <a:xfrm>
              <a:off x="8213337" y="1481408"/>
              <a:ext cx="451909"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dirty="0">
                  <a:solidFill>
                    <a:srgbClr val="000000"/>
                  </a:solidFill>
                  <a:cs typeface="Arial" pitchFamily="34" charset="0"/>
                </a:rPr>
                <a:t>3/31</a:t>
              </a:r>
              <a:endParaRPr lang="en-US" sz="1200" dirty="0">
                <a:solidFill>
                  <a:srgbClr val="000000"/>
                </a:solidFill>
                <a:cs typeface="Arial" pitchFamily="34" charset="0"/>
              </a:endParaRPr>
            </a:p>
          </p:txBody>
        </p:sp>
      </p:grpSp>
      <p:grpSp>
        <p:nvGrpSpPr>
          <p:cNvPr id="126" name="Group 125"/>
          <p:cNvGrpSpPr/>
          <p:nvPr/>
        </p:nvGrpSpPr>
        <p:grpSpPr>
          <a:xfrm>
            <a:off x="7618948" y="2897913"/>
            <a:ext cx="1283963" cy="184666"/>
            <a:chOff x="7577929" y="1481408"/>
            <a:chExt cx="1283963" cy="184666"/>
          </a:xfrm>
        </p:grpSpPr>
        <p:sp>
          <p:nvSpPr>
            <p:cNvPr id="127" name="Rectangle 63"/>
            <p:cNvSpPr>
              <a:spLocks noChangeArrowheads="1"/>
            </p:cNvSpPr>
            <p:nvPr>
              <p:custDataLst>
                <p:tags r:id="rId21"/>
              </p:custDataLst>
            </p:nvPr>
          </p:nvSpPr>
          <p:spPr bwMode="gray">
            <a:xfrm>
              <a:off x="7577929" y="1481408"/>
              <a:ext cx="451909"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dirty="0">
                  <a:solidFill>
                    <a:srgbClr val="000000"/>
                  </a:solidFill>
                  <a:cs typeface="Arial" pitchFamily="34" charset="0"/>
                </a:rPr>
                <a:t>4/14</a:t>
              </a:r>
              <a:endParaRPr lang="en-US" sz="1200" dirty="0">
                <a:solidFill>
                  <a:srgbClr val="000000"/>
                </a:solidFill>
                <a:cs typeface="Arial" pitchFamily="34" charset="0"/>
              </a:endParaRPr>
            </a:p>
          </p:txBody>
        </p:sp>
        <p:sp>
          <p:nvSpPr>
            <p:cNvPr id="128" name="Oval 111"/>
            <p:cNvSpPr>
              <a:spLocks noChangeArrowheads="1"/>
            </p:cNvSpPr>
            <p:nvPr>
              <p:custDataLst>
                <p:tags r:id="rId22"/>
              </p:custDataLst>
            </p:nvPr>
          </p:nvSpPr>
          <p:spPr bwMode="gray">
            <a:xfrm>
              <a:off x="8745394" y="1515669"/>
              <a:ext cx="116498" cy="116144"/>
            </a:xfrm>
            <a:prstGeom prst="ellipse">
              <a:avLst/>
            </a:prstGeom>
            <a:solidFill>
              <a:srgbClr val="009900"/>
            </a:solidFill>
            <a:ln w="9525">
              <a:solidFill>
                <a:srgbClr val="009900"/>
              </a:solidFill>
              <a:round/>
              <a:headEnd/>
              <a:tailEnd/>
            </a:ln>
            <a:effectLst/>
            <a:scene3d>
              <a:camera prst="orthographicFront"/>
              <a:lightRig rig="balanced" dir="t"/>
            </a:scene3d>
            <a:sp3d>
              <a:bevelT/>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9973" tIns="34987" rIns="69973" bIns="34987" numCol="1" anchor="ctr" anchorCtr="0" compatLnSpc="1">
              <a:prstTxWarp prst="textNoShape">
                <a:avLst/>
              </a:prstTxWarp>
            </a:bodyPr>
            <a:lstStyle/>
            <a:p>
              <a:pPr algn="ctr" fontAlgn="base">
                <a:spcBef>
                  <a:spcPct val="0"/>
                </a:spcBef>
                <a:spcAft>
                  <a:spcPct val="0"/>
                </a:spcAft>
              </a:pPr>
              <a:r>
                <a:rPr lang="en-US" sz="1200" b="1" dirty="0">
                  <a:solidFill>
                    <a:schemeClr val="bg1"/>
                  </a:solidFill>
                </a:rPr>
                <a:t>G</a:t>
              </a:r>
            </a:p>
          </p:txBody>
        </p:sp>
        <p:sp>
          <p:nvSpPr>
            <p:cNvPr id="129" name="Rectangle 63"/>
            <p:cNvSpPr>
              <a:spLocks noChangeArrowheads="1"/>
            </p:cNvSpPr>
            <p:nvPr>
              <p:custDataLst>
                <p:tags r:id="rId23"/>
              </p:custDataLst>
            </p:nvPr>
          </p:nvSpPr>
          <p:spPr bwMode="gray">
            <a:xfrm>
              <a:off x="8213337" y="1481408"/>
              <a:ext cx="451909"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dirty="0">
                  <a:solidFill>
                    <a:srgbClr val="000000"/>
                  </a:solidFill>
                  <a:cs typeface="Arial" pitchFamily="34" charset="0"/>
                </a:rPr>
                <a:t>4/14</a:t>
              </a:r>
              <a:endParaRPr lang="en-US" sz="1200" dirty="0">
                <a:solidFill>
                  <a:srgbClr val="000000"/>
                </a:solidFill>
                <a:cs typeface="Arial" pitchFamily="34" charset="0"/>
              </a:endParaRPr>
            </a:p>
          </p:txBody>
        </p:sp>
      </p:grpSp>
      <p:grpSp>
        <p:nvGrpSpPr>
          <p:cNvPr id="130" name="Group 129"/>
          <p:cNvGrpSpPr/>
          <p:nvPr/>
        </p:nvGrpSpPr>
        <p:grpSpPr>
          <a:xfrm>
            <a:off x="7614681" y="3301607"/>
            <a:ext cx="1283963" cy="184666"/>
            <a:chOff x="7577929" y="1481408"/>
            <a:chExt cx="1283963" cy="184666"/>
          </a:xfrm>
        </p:grpSpPr>
        <p:sp>
          <p:nvSpPr>
            <p:cNvPr id="131" name="Rectangle 63"/>
            <p:cNvSpPr>
              <a:spLocks noChangeArrowheads="1"/>
            </p:cNvSpPr>
            <p:nvPr>
              <p:custDataLst>
                <p:tags r:id="rId18"/>
              </p:custDataLst>
            </p:nvPr>
          </p:nvSpPr>
          <p:spPr bwMode="gray">
            <a:xfrm>
              <a:off x="7577929" y="1481408"/>
              <a:ext cx="451909"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dirty="0">
                  <a:solidFill>
                    <a:srgbClr val="000000"/>
                  </a:solidFill>
                  <a:cs typeface="Arial" pitchFamily="34" charset="0"/>
                </a:rPr>
                <a:t>4/26</a:t>
              </a:r>
              <a:endParaRPr lang="en-US" sz="1200" dirty="0">
                <a:solidFill>
                  <a:srgbClr val="000000"/>
                </a:solidFill>
                <a:cs typeface="Arial" pitchFamily="34" charset="0"/>
              </a:endParaRPr>
            </a:p>
          </p:txBody>
        </p:sp>
        <p:sp>
          <p:nvSpPr>
            <p:cNvPr id="132" name="Oval 111"/>
            <p:cNvSpPr>
              <a:spLocks noChangeArrowheads="1"/>
            </p:cNvSpPr>
            <p:nvPr>
              <p:custDataLst>
                <p:tags r:id="rId19"/>
              </p:custDataLst>
            </p:nvPr>
          </p:nvSpPr>
          <p:spPr bwMode="gray">
            <a:xfrm>
              <a:off x="8745394" y="1515669"/>
              <a:ext cx="116498" cy="116144"/>
            </a:xfrm>
            <a:prstGeom prst="ellipse">
              <a:avLst/>
            </a:prstGeom>
            <a:solidFill>
              <a:srgbClr val="009900"/>
            </a:solidFill>
            <a:ln w="9525">
              <a:solidFill>
                <a:srgbClr val="009900"/>
              </a:solidFill>
              <a:round/>
              <a:headEnd/>
              <a:tailEnd/>
            </a:ln>
            <a:effectLst/>
            <a:scene3d>
              <a:camera prst="orthographicFront"/>
              <a:lightRig rig="balanced" dir="t"/>
            </a:scene3d>
            <a:sp3d>
              <a:bevelT/>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9973" tIns="34987" rIns="69973" bIns="34987" numCol="1" anchor="ctr" anchorCtr="0" compatLnSpc="1">
              <a:prstTxWarp prst="textNoShape">
                <a:avLst/>
              </a:prstTxWarp>
            </a:bodyPr>
            <a:lstStyle/>
            <a:p>
              <a:pPr algn="ctr" fontAlgn="base">
                <a:spcBef>
                  <a:spcPct val="0"/>
                </a:spcBef>
                <a:spcAft>
                  <a:spcPct val="0"/>
                </a:spcAft>
              </a:pPr>
              <a:r>
                <a:rPr lang="en-US" sz="1200" b="1" dirty="0">
                  <a:solidFill>
                    <a:schemeClr val="bg1"/>
                  </a:solidFill>
                </a:rPr>
                <a:t>G</a:t>
              </a:r>
            </a:p>
          </p:txBody>
        </p:sp>
        <p:sp>
          <p:nvSpPr>
            <p:cNvPr id="133" name="Rectangle 63"/>
            <p:cNvSpPr>
              <a:spLocks noChangeArrowheads="1"/>
            </p:cNvSpPr>
            <p:nvPr>
              <p:custDataLst>
                <p:tags r:id="rId20"/>
              </p:custDataLst>
            </p:nvPr>
          </p:nvSpPr>
          <p:spPr bwMode="gray">
            <a:xfrm>
              <a:off x="8213337" y="1481408"/>
              <a:ext cx="451909" cy="184666"/>
            </a:xfrm>
            <a:prstGeom prst="rect">
              <a:avLst/>
            </a:prstGeom>
            <a:noFill/>
            <a:ln>
              <a:noFill/>
            </a:ln>
            <a:effectLst/>
            <a:extLst>
              <a:ext uri="{909E8E84-426E-40DD-AFC4-6F175D3DCCD1}">
                <a14:hiddenFill xmlns:a14="http://schemas.microsoft.com/office/drawing/2010/main">
                  <a:solidFill>
                    <a:srgbClr val="DEEAF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GB" sz="1200" dirty="0">
                  <a:solidFill>
                    <a:srgbClr val="000000"/>
                  </a:solidFill>
                  <a:cs typeface="Arial" pitchFamily="34" charset="0"/>
                </a:rPr>
                <a:t>4/26</a:t>
              </a:r>
              <a:endParaRPr lang="en-US" sz="1200" dirty="0">
                <a:solidFill>
                  <a:srgbClr val="000000"/>
                </a:solidFill>
                <a:cs typeface="Arial" pitchFamily="34" charset="0"/>
              </a:endParaRPr>
            </a:p>
          </p:txBody>
        </p:sp>
      </p:grpSp>
    </p:spTree>
    <p:extLst>
      <p:ext uri="{BB962C8B-B14F-4D97-AF65-F5344CB8AC3E}">
        <p14:creationId xmlns:p14="http://schemas.microsoft.com/office/powerpoint/2010/main" val="8548814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100" y="1966464"/>
            <a:ext cx="7596738" cy="487400"/>
          </a:xfrm>
        </p:spPr>
        <p:txBody>
          <a:bodyPr/>
          <a:lstStyle/>
          <a:p>
            <a:r>
              <a:rPr lang="en-US" dirty="0"/>
              <a:t>Initial Business </a:t>
            </a:r>
            <a:r>
              <a:rPr lang="en-US"/>
              <a:t>Model Examples</a:t>
            </a:r>
            <a:endParaRPr lang="en-US" dirty="0"/>
          </a:p>
        </p:txBody>
      </p:sp>
      <p:sp>
        <p:nvSpPr>
          <p:cNvPr id="5" name="Rectangle 4"/>
          <p:cNvSpPr/>
          <p:nvPr/>
        </p:nvSpPr>
        <p:spPr>
          <a:xfrm>
            <a:off x="233464" y="4870315"/>
            <a:ext cx="1141379" cy="214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err="1"/>
          </a:p>
        </p:txBody>
      </p:sp>
    </p:spTree>
    <p:extLst>
      <p:ext uri="{BB962C8B-B14F-4D97-AF65-F5344CB8AC3E}">
        <p14:creationId xmlns:p14="http://schemas.microsoft.com/office/powerpoint/2010/main" val="19506668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ditional DER Business Models Leveraging Wholesale Value</a:t>
            </a:r>
          </a:p>
        </p:txBody>
      </p:sp>
      <p:grpSp>
        <p:nvGrpSpPr>
          <p:cNvPr id="92" name="Group 91"/>
          <p:cNvGrpSpPr/>
          <p:nvPr/>
        </p:nvGrpSpPr>
        <p:grpSpPr>
          <a:xfrm>
            <a:off x="4224800" y="1931473"/>
            <a:ext cx="716483" cy="596687"/>
            <a:chOff x="10140741" y="4936257"/>
            <a:chExt cx="2017338" cy="930956"/>
          </a:xfrm>
        </p:grpSpPr>
        <p:grpSp>
          <p:nvGrpSpPr>
            <p:cNvPr id="93" name="Group 92"/>
            <p:cNvGrpSpPr/>
            <p:nvPr/>
          </p:nvGrpSpPr>
          <p:grpSpPr>
            <a:xfrm>
              <a:off x="10140743" y="5530491"/>
              <a:ext cx="2017336" cy="336722"/>
              <a:chOff x="8621805" y="3341045"/>
              <a:chExt cx="2017336" cy="523944"/>
            </a:xfrm>
          </p:grpSpPr>
          <p:cxnSp>
            <p:nvCxnSpPr>
              <p:cNvPr id="100" name="Straight Arrow Connector 99"/>
              <p:cNvCxnSpPr/>
              <p:nvPr/>
            </p:nvCxnSpPr>
            <p:spPr>
              <a:xfrm>
                <a:off x="8898903" y="3465978"/>
                <a:ext cx="1443873" cy="0"/>
              </a:xfrm>
              <a:prstGeom prst="straightConnector1">
                <a:avLst/>
              </a:prstGeom>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1" name="Rectangle 100"/>
              <p:cNvSpPr/>
              <p:nvPr/>
            </p:nvSpPr>
            <p:spPr>
              <a:xfrm>
                <a:off x="8621805" y="3341045"/>
                <a:ext cx="2017336" cy="523944"/>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lIns="40500" tIns="40500" rIns="40500" bIns="40500" rtlCol="0" anchor="ctr"/>
              <a:lstStyle/>
              <a:p>
                <a:pPr algn="ctr" defTabSz="685757">
                  <a:buClr>
                    <a:srgbClr val="0F2B4B"/>
                  </a:buClr>
                </a:pPr>
                <a:r>
                  <a:rPr lang="en-US" sz="675" dirty="0">
                    <a:solidFill>
                      <a:srgbClr val="0F2B4B"/>
                    </a:solidFill>
                    <a:latin typeface="Calibri Light"/>
                  </a:rPr>
                  <a:t>Electricity</a:t>
                </a:r>
              </a:p>
            </p:txBody>
          </p:sp>
        </p:grpSp>
        <p:grpSp>
          <p:nvGrpSpPr>
            <p:cNvPr id="94" name="Group 93"/>
            <p:cNvGrpSpPr/>
            <p:nvPr/>
          </p:nvGrpSpPr>
          <p:grpSpPr>
            <a:xfrm>
              <a:off x="10140743" y="4936257"/>
              <a:ext cx="2017336" cy="297117"/>
              <a:chOff x="8621805" y="3341045"/>
              <a:chExt cx="2017336" cy="523944"/>
            </a:xfrm>
          </p:grpSpPr>
          <p:cxnSp>
            <p:nvCxnSpPr>
              <p:cNvPr id="98" name="Straight Arrow Connector 97"/>
              <p:cNvCxnSpPr/>
              <p:nvPr/>
            </p:nvCxnSpPr>
            <p:spPr>
              <a:xfrm>
                <a:off x="8898903" y="3465978"/>
                <a:ext cx="1443873" cy="0"/>
              </a:xfrm>
              <a:prstGeom prst="straightConnector1">
                <a:avLst/>
              </a:prstGeom>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9" name="Rectangle 98"/>
              <p:cNvSpPr/>
              <p:nvPr/>
            </p:nvSpPr>
            <p:spPr>
              <a:xfrm>
                <a:off x="8621805" y="3341045"/>
                <a:ext cx="2017336" cy="523944"/>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lIns="40500" tIns="40500" rIns="40500" bIns="40500" rtlCol="0" anchor="ctr"/>
              <a:lstStyle/>
              <a:p>
                <a:pPr algn="ctr" defTabSz="685757">
                  <a:buClr>
                    <a:srgbClr val="0F2B4B"/>
                  </a:buClr>
                </a:pPr>
                <a:r>
                  <a:rPr lang="en-US" sz="675" dirty="0">
                    <a:solidFill>
                      <a:srgbClr val="0F2B4B"/>
                    </a:solidFill>
                    <a:latin typeface="Calibri Light"/>
                  </a:rPr>
                  <a:t>Information</a:t>
                </a:r>
              </a:p>
            </p:txBody>
          </p:sp>
        </p:grpSp>
        <p:grpSp>
          <p:nvGrpSpPr>
            <p:cNvPr id="95" name="Group 94"/>
            <p:cNvGrpSpPr/>
            <p:nvPr/>
          </p:nvGrpSpPr>
          <p:grpSpPr>
            <a:xfrm>
              <a:off x="10140741" y="5233374"/>
              <a:ext cx="2017336" cy="297117"/>
              <a:chOff x="8602542" y="3341045"/>
              <a:chExt cx="2017336" cy="523944"/>
            </a:xfrm>
          </p:grpSpPr>
          <p:cxnSp>
            <p:nvCxnSpPr>
              <p:cNvPr id="96" name="Straight Arrow Connector 95"/>
              <p:cNvCxnSpPr/>
              <p:nvPr/>
            </p:nvCxnSpPr>
            <p:spPr>
              <a:xfrm>
                <a:off x="8898903" y="3465978"/>
                <a:ext cx="1443873" cy="0"/>
              </a:xfrm>
              <a:prstGeom prst="straightConnector1">
                <a:avLst/>
              </a:prstGeom>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7" name="Rectangle 96"/>
              <p:cNvSpPr/>
              <p:nvPr/>
            </p:nvSpPr>
            <p:spPr>
              <a:xfrm>
                <a:off x="8602542" y="3341045"/>
                <a:ext cx="2017336" cy="523944"/>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lIns="40500" tIns="40500" rIns="40500" bIns="40500" rtlCol="0" anchor="ctr"/>
              <a:lstStyle/>
              <a:p>
                <a:pPr algn="ctr" defTabSz="685757">
                  <a:buClr>
                    <a:srgbClr val="0F2B4B"/>
                  </a:buClr>
                </a:pPr>
                <a:r>
                  <a:rPr lang="en-US" sz="675" dirty="0">
                    <a:solidFill>
                      <a:srgbClr val="0F2B4B"/>
                    </a:solidFill>
                    <a:latin typeface="Calibri Light"/>
                  </a:rPr>
                  <a:t>Monetary</a:t>
                </a:r>
              </a:p>
            </p:txBody>
          </p:sp>
        </p:grpSp>
      </p:grpSp>
      <p:sp>
        <p:nvSpPr>
          <p:cNvPr id="106" name="TextBox 105"/>
          <p:cNvSpPr txBox="1"/>
          <p:nvPr/>
        </p:nvSpPr>
        <p:spPr>
          <a:xfrm>
            <a:off x="341773" y="4456508"/>
            <a:ext cx="4698719" cy="142875"/>
          </a:xfrm>
          <a:prstGeom prst="rect">
            <a:avLst/>
          </a:prstGeom>
          <a:noFill/>
        </p:spPr>
        <p:txBody>
          <a:bodyPr wrap="square" lIns="0" tIns="0" rIns="0" bIns="0" rtlCol="0" anchor="ctr" anchorCtr="0">
            <a:noAutofit/>
          </a:bodyPr>
          <a:lstStyle/>
          <a:p>
            <a:pPr algn="just" defTabSz="685757">
              <a:buClr>
                <a:srgbClr val="0F2B4B"/>
              </a:buClr>
            </a:pPr>
            <a:r>
              <a:rPr lang="en-GB" sz="600" dirty="0">
                <a:solidFill>
                  <a:srgbClr val="69A5D6"/>
                </a:solidFill>
                <a:latin typeface="Calibri Light"/>
              </a:rPr>
              <a:t>Source: GTM Research</a:t>
            </a:r>
          </a:p>
        </p:txBody>
      </p:sp>
      <p:grpSp>
        <p:nvGrpSpPr>
          <p:cNvPr id="107" name="Group 106"/>
          <p:cNvGrpSpPr/>
          <p:nvPr/>
        </p:nvGrpSpPr>
        <p:grpSpPr>
          <a:xfrm>
            <a:off x="4644342" y="1638450"/>
            <a:ext cx="4183609" cy="222533"/>
            <a:chOff x="442913" y="1341438"/>
            <a:chExt cx="11306175" cy="296711"/>
          </a:xfrm>
        </p:grpSpPr>
        <p:cxnSp>
          <p:nvCxnSpPr>
            <p:cNvPr id="108" name="Straight Connector 107"/>
            <p:cNvCxnSpPr/>
            <p:nvPr/>
          </p:nvCxnSpPr>
          <p:spPr>
            <a:xfrm>
              <a:off x="442913" y="1632477"/>
              <a:ext cx="11306175" cy="0"/>
            </a:xfrm>
            <a:prstGeom prst="line">
              <a:avLst/>
            </a:prstGeom>
            <a:ln w="127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a:off x="442913" y="1341438"/>
              <a:ext cx="11306175" cy="296711"/>
            </a:xfrm>
            <a:prstGeom prst="rect">
              <a:avLst/>
            </a:prstGeom>
            <a:noFill/>
          </p:spPr>
          <p:txBody>
            <a:bodyPr wrap="square" lIns="0" tIns="0" rIns="0" bIns="0" rtlCol="0" anchor="ctr" anchorCtr="0">
              <a:noAutofit/>
            </a:bodyPr>
            <a:lstStyle/>
            <a:p>
              <a:pPr algn="just" defTabSz="685757">
                <a:buClr>
                  <a:srgbClr val="0F2B4B"/>
                </a:buClr>
              </a:pPr>
              <a:r>
                <a:rPr lang="en-GB" sz="1050" b="1" dirty="0">
                  <a:solidFill>
                    <a:srgbClr val="69A5D6"/>
                  </a:solidFill>
                  <a:latin typeface="Calibri Light"/>
                </a:rPr>
                <a:t>Utility Demand Response Programs Through and Aggregator</a:t>
              </a:r>
            </a:p>
          </p:txBody>
        </p:sp>
      </p:grpSp>
      <p:grpSp>
        <p:nvGrpSpPr>
          <p:cNvPr id="3" name="Group 2"/>
          <p:cNvGrpSpPr/>
          <p:nvPr/>
        </p:nvGrpSpPr>
        <p:grpSpPr>
          <a:xfrm>
            <a:off x="4805898" y="1861377"/>
            <a:ext cx="3763984" cy="2676883"/>
            <a:chOff x="5910433" y="1989767"/>
            <a:chExt cx="5467359" cy="3888296"/>
          </a:xfrm>
        </p:grpSpPr>
        <p:sp>
          <p:nvSpPr>
            <p:cNvPr id="8" name="TextBox 7"/>
            <p:cNvSpPr txBox="1"/>
            <p:nvPr/>
          </p:nvSpPr>
          <p:spPr>
            <a:xfrm>
              <a:off x="7374296" y="5073099"/>
              <a:ext cx="2253193" cy="452648"/>
            </a:xfrm>
            <a:prstGeom prst="rect">
              <a:avLst/>
            </a:prstGeom>
            <a:noFill/>
          </p:spPr>
          <p:txBody>
            <a:bodyPr wrap="square" lIns="0" tIns="0" rIns="0" bIns="0" rtlCol="0">
              <a:spAutoFit/>
            </a:bodyPr>
            <a:lstStyle/>
            <a:p>
              <a:pPr algn="ctr" defTabSz="685757">
                <a:buClr>
                  <a:srgbClr val="0F2B4B"/>
                </a:buClr>
              </a:pPr>
              <a:r>
                <a:rPr lang="en-US" sz="675" b="1" dirty="0">
                  <a:solidFill>
                    <a:srgbClr val="0C56A6"/>
                  </a:solidFill>
                  <a:latin typeface="Calibri Light"/>
                </a:rPr>
                <a:t>Service Provision </a:t>
              </a:r>
            </a:p>
            <a:p>
              <a:pPr algn="ctr" defTabSz="685757">
                <a:buClr>
                  <a:srgbClr val="0F2B4B"/>
                </a:buClr>
              </a:pPr>
              <a:r>
                <a:rPr lang="en-US" sz="675" dirty="0">
                  <a:solidFill>
                    <a:srgbClr val="0F2B4B"/>
                  </a:solidFill>
                  <a:latin typeface="Calibri Light"/>
                </a:rPr>
                <a:t>Load modification in response to control signal</a:t>
              </a:r>
            </a:p>
          </p:txBody>
        </p:sp>
        <p:sp>
          <p:nvSpPr>
            <p:cNvPr id="10" name="TextBox 9"/>
            <p:cNvSpPr txBox="1"/>
            <p:nvPr/>
          </p:nvSpPr>
          <p:spPr>
            <a:xfrm>
              <a:off x="8803924" y="4161999"/>
              <a:ext cx="1132164" cy="603530"/>
            </a:xfrm>
            <a:prstGeom prst="rect">
              <a:avLst/>
            </a:prstGeom>
            <a:noFill/>
          </p:spPr>
          <p:txBody>
            <a:bodyPr wrap="square" lIns="0" tIns="0" rIns="0" bIns="0" rtlCol="0">
              <a:spAutoFit/>
            </a:bodyPr>
            <a:lstStyle/>
            <a:p>
              <a:pPr algn="ctr" defTabSz="685757">
                <a:buClr>
                  <a:srgbClr val="0F2B4B"/>
                </a:buClr>
              </a:pPr>
              <a:r>
                <a:rPr lang="en-US" sz="675" b="1" dirty="0">
                  <a:solidFill>
                    <a:srgbClr val="E38825"/>
                  </a:solidFill>
                  <a:latin typeface="Calibri Light"/>
                </a:rPr>
                <a:t>Information</a:t>
              </a:r>
            </a:p>
            <a:p>
              <a:pPr algn="ctr" defTabSz="685757">
                <a:buClr>
                  <a:srgbClr val="0F2B4B"/>
                </a:buClr>
              </a:pPr>
              <a:r>
                <a:rPr lang="en-US" sz="675" dirty="0">
                  <a:solidFill>
                    <a:srgbClr val="0F2B4B"/>
                  </a:solidFill>
                  <a:latin typeface="Calibri Light"/>
                </a:rPr>
                <a:t>Energy usage, availability, control signals</a:t>
              </a:r>
            </a:p>
          </p:txBody>
        </p:sp>
        <p:sp>
          <p:nvSpPr>
            <p:cNvPr id="12" name="TextBox 11"/>
            <p:cNvSpPr txBox="1"/>
            <p:nvPr/>
          </p:nvSpPr>
          <p:spPr>
            <a:xfrm>
              <a:off x="7165915" y="4162339"/>
              <a:ext cx="1213601" cy="603530"/>
            </a:xfrm>
            <a:prstGeom prst="rect">
              <a:avLst/>
            </a:prstGeom>
            <a:noFill/>
          </p:spPr>
          <p:txBody>
            <a:bodyPr wrap="square" lIns="0" tIns="0" rIns="0" bIns="0" rtlCol="0">
              <a:spAutoFit/>
            </a:bodyPr>
            <a:lstStyle/>
            <a:p>
              <a:pPr algn="ctr" defTabSz="685757">
                <a:buClr>
                  <a:srgbClr val="0F2B4B"/>
                </a:buClr>
              </a:pPr>
              <a:r>
                <a:rPr lang="en-US" sz="675" b="1" dirty="0">
                  <a:solidFill>
                    <a:srgbClr val="E38825"/>
                  </a:solidFill>
                  <a:latin typeface="Calibri Light"/>
                </a:rPr>
                <a:t>Information</a:t>
              </a:r>
            </a:p>
            <a:p>
              <a:pPr algn="ctr" defTabSz="685757">
                <a:buClr>
                  <a:srgbClr val="0F2B4B"/>
                </a:buClr>
              </a:pPr>
              <a:r>
                <a:rPr lang="en-US" sz="675" dirty="0">
                  <a:solidFill>
                    <a:srgbClr val="0F2B4B"/>
                  </a:solidFill>
                  <a:latin typeface="Calibri Light"/>
                </a:rPr>
                <a:t>Service requirements, dispatch signals, availability</a:t>
              </a:r>
            </a:p>
          </p:txBody>
        </p:sp>
        <p:sp>
          <p:nvSpPr>
            <p:cNvPr id="13" name="TextBox 12"/>
            <p:cNvSpPr txBox="1"/>
            <p:nvPr/>
          </p:nvSpPr>
          <p:spPr>
            <a:xfrm>
              <a:off x="5949816" y="2650264"/>
              <a:ext cx="1541678" cy="452648"/>
            </a:xfrm>
            <a:prstGeom prst="rect">
              <a:avLst/>
            </a:prstGeom>
            <a:noFill/>
          </p:spPr>
          <p:txBody>
            <a:bodyPr wrap="square" lIns="0" tIns="0" rIns="0" bIns="0" rtlCol="0">
              <a:spAutoFit/>
            </a:bodyPr>
            <a:lstStyle/>
            <a:p>
              <a:pPr algn="ctr" defTabSz="685757">
                <a:buClr>
                  <a:srgbClr val="0F2B4B"/>
                </a:buClr>
              </a:pPr>
              <a:r>
                <a:rPr lang="en-US" sz="675" b="1" dirty="0">
                  <a:solidFill>
                    <a:srgbClr val="94AA5E"/>
                  </a:solidFill>
                  <a:latin typeface="Calibri Light"/>
                </a:rPr>
                <a:t>Service Payment</a:t>
              </a:r>
            </a:p>
            <a:p>
              <a:pPr algn="ctr" defTabSz="685757">
                <a:buClr>
                  <a:srgbClr val="0F2B4B"/>
                </a:buClr>
              </a:pPr>
              <a:r>
                <a:rPr lang="en-US" sz="675" dirty="0">
                  <a:solidFill>
                    <a:srgbClr val="0F2B4B"/>
                  </a:solidFill>
                  <a:latin typeface="Calibri Light"/>
                </a:rPr>
                <a:t>Payments for electricity services, subscription fees</a:t>
              </a:r>
            </a:p>
          </p:txBody>
        </p:sp>
        <p:sp>
          <p:nvSpPr>
            <p:cNvPr id="14" name="TextBox 13"/>
            <p:cNvSpPr txBox="1"/>
            <p:nvPr/>
          </p:nvSpPr>
          <p:spPr>
            <a:xfrm>
              <a:off x="9756706" y="2641514"/>
              <a:ext cx="1307603" cy="603530"/>
            </a:xfrm>
            <a:prstGeom prst="rect">
              <a:avLst/>
            </a:prstGeom>
            <a:noFill/>
          </p:spPr>
          <p:txBody>
            <a:bodyPr wrap="square" lIns="0" tIns="0" rIns="0" bIns="0" rtlCol="0">
              <a:spAutoFit/>
            </a:bodyPr>
            <a:lstStyle/>
            <a:p>
              <a:pPr algn="ctr" defTabSz="685757">
                <a:buClr>
                  <a:srgbClr val="0F2B4B"/>
                </a:buClr>
              </a:pPr>
              <a:r>
                <a:rPr lang="en-US" sz="675" b="1" dirty="0">
                  <a:solidFill>
                    <a:srgbClr val="94AA5E"/>
                  </a:solidFill>
                  <a:latin typeface="Calibri Light"/>
                </a:rPr>
                <a:t>Revenue</a:t>
              </a:r>
            </a:p>
            <a:p>
              <a:pPr algn="ctr" defTabSz="685757">
                <a:buClr>
                  <a:srgbClr val="0F2B4B"/>
                </a:buClr>
              </a:pPr>
              <a:r>
                <a:rPr lang="en-US" sz="675" dirty="0">
                  <a:solidFill>
                    <a:srgbClr val="0F2B4B"/>
                  </a:solidFill>
                  <a:latin typeface="Calibri Light"/>
                </a:rPr>
                <a:t>One time payment </a:t>
              </a:r>
            </a:p>
            <a:p>
              <a:pPr algn="ctr" defTabSz="685757">
                <a:buClr>
                  <a:srgbClr val="0F2B4B"/>
                </a:buClr>
              </a:pPr>
              <a:r>
                <a:rPr lang="en-US" sz="675" dirty="0">
                  <a:solidFill>
                    <a:srgbClr val="0F2B4B"/>
                  </a:solidFill>
                  <a:latin typeface="Calibri Light"/>
                </a:rPr>
                <a:t>Availability payment</a:t>
              </a:r>
            </a:p>
            <a:p>
              <a:pPr algn="ctr" defTabSz="685757">
                <a:buClr>
                  <a:srgbClr val="0F2B4B"/>
                </a:buClr>
              </a:pPr>
              <a:r>
                <a:rPr lang="en-US" sz="675" dirty="0">
                  <a:solidFill>
                    <a:srgbClr val="0F2B4B"/>
                  </a:solidFill>
                  <a:latin typeface="Calibri Light"/>
                </a:rPr>
                <a:t>Performance payment</a:t>
              </a:r>
            </a:p>
          </p:txBody>
        </p:sp>
        <p:sp>
          <p:nvSpPr>
            <p:cNvPr id="88" name="Rectangle 87"/>
            <p:cNvSpPr/>
            <p:nvPr/>
          </p:nvSpPr>
          <p:spPr>
            <a:xfrm>
              <a:off x="7808132" y="2757876"/>
              <a:ext cx="1763196" cy="1085810"/>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40500" tIns="40500" rIns="40500" bIns="40500" rtlCol="0" anchor="ctr"/>
            <a:lstStyle/>
            <a:p>
              <a:pPr algn="ctr" defTabSz="685757">
                <a:buClr>
                  <a:srgbClr val="0F2B4B"/>
                </a:buClr>
              </a:pPr>
              <a:r>
                <a:rPr lang="en-US" sz="750" b="1" dirty="0">
                  <a:solidFill>
                    <a:prstClr val="white"/>
                  </a:solidFill>
                  <a:latin typeface="Calibri Light"/>
                </a:rPr>
                <a:t>DER ‘Broker’</a:t>
              </a:r>
            </a:p>
            <a:p>
              <a:pPr marL="128588" indent="-128588" defTabSz="685757">
                <a:buClr>
                  <a:prstClr val="white"/>
                </a:buClr>
                <a:buFont typeface="Arial" panose="020B0604020202020204" pitchFamily="34" charset="0"/>
                <a:buChar char="•"/>
              </a:pPr>
              <a:r>
                <a:rPr lang="en-US" sz="675" dirty="0">
                  <a:solidFill>
                    <a:prstClr val="white"/>
                  </a:solidFill>
                  <a:latin typeface="Calibri Light"/>
                </a:rPr>
                <a:t>Allocate dispatch </a:t>
              </a:r>
            </a:p>
            <a:p>
              <a:pPr marL="128588" indent="-128588" defTabSz="685757">
                <a:buClr>
                  <a:prstClr val="white"/>
                </a:buClr>
                <a:buFont typeface="Arial" panose="020B0604020202020204" pitchFamily="34" charset="0"/>
                <a:buChar char="•"/>
              </a:pPr>
              <a:r>
                <a:rPr lang="en-US" sz="675" dirty="0">
                  <a:solidFill>
                    <a:prstClr val="white"/>
                  </a:solidFill>
                  <a:latin typeface="Calibri Light"/>
                </a:rPr>
                <a:t>Technology and equipment, DRMS </a:t>
              </a:r>
            </a:p>
            <a:p>
              <a:pPr marL="128588" indent="-128588" defTabSz="685757">
                <a:buClr>
                  <a:prstClr val="white"/>
                </a:buClr>
                <a:buFont typeface="Arial" panose="020B0604020202020204" pitchFamily="34" charset="0"/>
                <a:buChar char="•"/>
              </a:pPr>
              <a:r>
                <a:rPr lang="en-US" sz="675" dirty="0">
                  <a:solidFill>
                    <a:prstClr val="white"/>
                  </a:solidFill>
                  <a:latin typeface="Calibri Light"/>
                </a:rPr>
                <a:t>Compensation to resource activated</a:t>
              </a:r>
            </a:p>
          </p:txBody>
        </p:sp>
        <p:cxnSp>
          <p:nvCxnSpPr>
            <p:cNvPr id="89" name="Connector: Elbow 88"/>
            <p:cNvCxnSpPr>
              <a:stCxn id="26" idx="2"/>
              <a:endCxn id="88" idx="1"/>
            </p:cNvCxnSpPr>
            <p:nvPr/>
          </p:nvCxnSpPr>
          <p:spPr>
            <a:xfrm rot="10800000" flipH="1">
              <a:off x="6151053" y="3300782"/>
              <a:ext cx="1657078" cy="1811136"/>
            </a:xfrm>
            <a:prstGeom prst="bentConnector3">
              <a:avLst>
                <a:gd name="adj1" fmla="val -15029"/>
              </a:avLst>
            </a:prstGeom>
            <a:ln w="635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Connector: Elbow 89"/>
            <p:cNvCxnSpPr/>
            <p:nvPr/>
          </p:nvCxnSpPr>
          <p:spPr>
            <a:xfrm rot="10800000">
              <a:off x="8705411" y="3864738"/>
              <a:ext cx="1231650" cy="1140853"/>
            </a:xfrm>
            <a:prstGeom prst="bentConnector2">
              <a:avLst/>
            </a:prstGeom>
            <a:ln w="63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02" name="Group 101"/>
            <p:cNvGrpSpPr/>
            <p:nvPr/>
          </p:nvGrpSpPr>
          <p:grpSpPr>
            <a:xfrm>
              <a:off x="8063889" y="1989767"/>
              <a:ext cx="1150726" cy="863761"/>
              <a:chOff x="684799" y="3620677"/>
              <a:chExt cx="1150726" cy="863761"/>
            </a:xfrm>
          </p:grpSpPr>
          <p:pic>
            <p:nvPicPr>
              <p:cNvPr id="103" name="Picture 10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7963" y="3782873"/>
                <a:ext cx="704386" cy="701565"/>
              </a:xfrm>
              <a:prstGeom prst="rect">
                <a:avLst/>
              </a:prstGeom>
            </p:spPr>
          </p:pic>
          <p:sp>
            <p:nvSpPr>
              <p:cNvPr id="104" name="TextBox 103"/>
              <p:cNvSpPr txBox="1"/>
              <p:nvPr/>
            </p:nvSpPr>
            <p:spPr>
              <a:xfrm>
                <a:off x="684799" y="3620677"/>
                <a:ext cx="1150726" cy="201176"/>
              </a:xfrm>
              <a:prstGeom prst="rect">
                <a:avLst/>
              </a:prstGeom>
              <a:noFill/>
            </p:spPr>
            <p:txBody>
              <a:bodyPr wrap="square" lIns="0" tIns="0" rIns="0" bIns="0" rtlCol="0">
                <a:spAutoFit/>
              </a:bodyPr>
              <a:lstStyle/>
              <a:p>
                <a:pPr algn="ctr" defTabSz="685757">
                  <a:buClr>
                    <a:srgbClr val="0F2B4B"/>
                  </a:buClr>
                </a:pPr>
                <a:r>
                  <a:rPr lang="en-US" sz="900" b="1" dirty="0">
                    <a:ln w="0"/>
                    <a:solidFill>
                      <a:srgbClr val="0F2B4B"/>
                    </a:solidFill>
                    <a:latin typeface="Calibri Light"/>
                  </a:rPr>
                  <a:t>Aggregator</a:t>
                </a:r>
              </a:p>
            </p:txBody>
          </p:sp>
        </p:grpSp>
        <p:cxnSp>
          <p:nvCxnSpPr>
            <p:cNvPr id="112" name="Connector: Elbow 111"/>
            <p:cNvCxnSpPr>
              <a:stCxn id="116" idx="3"/>
              <a:endCxn id="88" idx="3"/>
            </p:cNvCxnSpPr>
            <p:nvPr/>
          </p:nvCxnSpPr>
          <p:spPr>
            <a:xfrm flipH="1" flipV="1">
              <a:off x="9571328" y="3300781"/>
              <a:ext cx="1806464" cy="1782196"/>
            </a:xfrm>
            <a:prstGeom prst="bentConnector3">
              <a:avLst>
                <a:gd name="adj1" fmla="val -13786"/>
              </a:avLst>
            </a:prstGeom>
            <a:ln w="635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5" name="Group 114"/>
            <p:cNvGrpSpPr/>
            <p:nvPr/>
          </p:nvGrpSpPr>
          <p:grpSpPr>
            <a:xfrm>
              <a:off x="9968393" y="4482000"/>
              <a:ext cx="1409399" cy="1021036"/>
              <a:chOff x="4740329" y="4428150"/>
              <a:chExt cx="1409399" cy="1021036"/>
            </a:xfrm>
          </p:grpSpPr>
          <p:pic>
            <p:nvPicPr>
              <p:cNvPr id="116" name="Picture 115"/>
              <p:cNvPicPr>
                <a:picLocks noChangeAspect="1"/>
              </p:cNvPicPr>
              <p:nvPr/>
            </p:nvPicPr>
            <p:blipFill rotWithShape="1">
              <a:blip r:embed="rId4" cstate="print">
                <a:extLst>
                  <a:ext uri="{28A0092B-C50C-407E-A947-70E740481C1C}">
                    <a14:useLocalDpi xmlns:a14="http://schemas.microsoft.com/office/drawing/2010/main" val="0"/>
                  </a:ext>
                </a:extLst>
              </a:blip>
              <a:srcRect l="5231" t="17291" r="38522" b="36406"/>
              <a:stretch/>
            </p:blipFill>
            <p:spPr>
              <a:xfrm>
                <a:off x="4750339" y="4609066"/>
                <a:ext cx="1399389" cy="840120"/>
              </a:xfrm>
              <a:prstGeom prst="rect">
                <a:avLst/>
              </a:prstGeom>
            </p:spPr>
          </p:pic>
          <p:sp>
            <p:nvSpPr>
              <p:cNvPr id="117" name="TextBox 116"/>
              <p:cNvSpPr txBox="1"/>
              <p:nvPr/>
            </p:nvSpPr>
            <p:spPr>
              <a:xfrm>
                <a:off x="4740329" y="4428150"/>
                <a:ext cx="1150725" cy="201176"/>
              </a:xfrm>
              <a:prstGeom prst="rect">
                <a:avLst/>
              </a:prstGeom>
              <a:noFill/>
            </p:spPr>
            <p:txBody>
              <a:bodyPr wrap="square" lIns="0" tIns="0" rIns="0" bIns="0" rtlCol="0">
                <a:spAutoFit/>
              </a:bodyPr>
              <a:lstStyle/>
              <a:p>
                <a:pPr algn="ctr" defTabSz="685757">
                  <a:buClr>
                    <a:srgbClr val="0F2B4B"/>
                  </a:buClr>
                </a:pPr>
                <a:r>
                  <a:rPr lang="en-US" sz="900" b="1" dirty="0">
                    <a:ln w="0"/>
                    <a:solidFill>
                      <a:srgbClr val="0F2B4B"/>
                    </a:solidFill>
                    <a:latin typeface="Calibri Light"/>
                  </a:rPr>
                  <a:t>Load Resource</a:t>
                </a:r>
              </a:p>
            </p:txBody>
          </p:sp>
        </p:grpSp>
        <p:cxnSp>
          <p:nvCxnSpPr>
            <p:cNvPr id="124" name="Connector: Elbow 123"/>
            <p:cNvCxnSpPr/>
            <p:nvPr/>
          </p:nvCxnSpPr>
          <p:spPr>
            <a:xfrm flipV="1">
              <a:off x="6944218" y="3857463"/>
              <a:ext cx="1442819" cy="1140851"/>
            </a:xfrm>
            <a:prstGeom prst="bentConnector2">
              <a:avLst/>
            </a:prstGeom>
            <a:ln w="63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2" name="Group 131"/>
            <p:cNvGrpSpPr/>
            <p:nvPr/>
          </p:nvGrpSpPr>
          <p:grpSpPr>
            <a:xfrm>
              <a:off x="5910433" y="4490101"/>
              <a:ext cx="1226435" cy="1327007"/>
              <a:chOff x="547434" y="4428257"/>
              <a:chExt cx="1226435" cy="1327007"/>
            </a:xfrm>
          </p:grpSpPr>
          <p:grpSp>
            <p:nvGrpSpPr>
              <p:cNvPr id="91" name="Group 90"/>
              <p:cNvGrpSpPr/>
              <p:nvPr/>
            </p:nvGrpSpPr>
            <p:grpSpPr>
              <a:xfrm>
                <a:off x="547434" y="4428257"/>
                <a:ext cx="1226435" cy="1043167"/>
                <a:chOff x="479134" y="3458254"/>
                <a:chExt cx="1226435" cy="1043167"/>
              </a:xfrm>
            </p:grpSpPr>
            <p:grpSp>
              <p:nvGrpSpPr>
                <p:cNvPr id="24" name="Group 23"/>
                <p:cNvGrpSpPr/>
                <p:nvPr/>
              </p:nvGrpSpPr>
              <p:grpSpPr>
                <a:xfrm>
                  <a:off x="688057" y="3672923"/>
                  <a:ext cx="828498" cy="828498"/>
                  <a:chOff x="9858526" y="5256713"/>
                  <a:chExt cx="828498" cy="828498"/>
                </a:xfrm>
              </p:grpSpPr>
              <p:sp>
                <p:nvSpPr>
                  <p:cNvPr id="25" name="Oval 24"/>
                  <p:cNvSpPr/>
                  <p:nvPr/>
                </p:nvSpPr>
                <p:spPr>
                  <a:xfrm>
                    <a:off x="9858526" y="5256713"/>
                    <a:ext cx="828498" cy="828498"/>
                  </a:xfrm>
                  <a:prstGeom prst="ellipse">
                    <a:avLst/>
                  </a:prstGeom>
                  <a:solidFill>
                    <a:srgbClr val="DADBE1"/>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685757">
                      <a:buClr>
                        <a:srgbClr val="0F2B4B"/>
                      </a:buClr>
                    </a:pPr>
                    <a:endParaRPr lang="en-US" sz="1050" dirty="0">
                      <a:solidFill>
                        <a:prstClr val="white"/>
                      </a:solidFill>
                      <a:latin typeface="Calibri Light"/>
                    </a:endParaRPr>
                  </a:p>
                </p:txBody>
              </p:sp>
              <p:sp>
                <p:nvSpPr>
                  <p:cNvPr id="26" name="Oval 25"/>
                  <p:cNvSpPr/>
                  <p:nvPr/>
                </p:nvSpPr>
                <p:spPr>
                  <a:xfrm>
                    <a:off x="9890224" y="5285095"/>
                    <a:ext cx="765103" cy="757528"/>
                  </a:xfrm>
                  <a:prstGeom prst="ellipse">
                    <a:avLst/>
                  </a:prstGeom>
                  <a:solidFill>
                    <a:srgbClr val="2E57AB"/>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685757">
                      <a:buClr>
                        <a:srgbClr val="0F2B4B"/>
                      </a:buClr>
                    </a:pPr>
                    <a:endParaRPr lang="en-US" sz="1050" dirty="0">
                      <a:solidFill>
                        <a:prstClr val="white"/>
                      </a:solidFill>
                      <a:latin typeface="Calibri Light"/>
                    </a:endParaRPr>
                  </a:p>
                </p:txBody>
              </p:sp>
              <p:grpSp>
                <p:nvGrpSpPr>
                  <p:cNvPr id="27" name="Group 26"/>
                  <p:cNvGrpSpPr/>
                  <p:nvPr/>
                </p:nvGrpSpPr>
                <p:grpSpPr>
                  <a:xfrm>
                    <a:off x="9953403" y="5279351"/>
                    <a:ext cx="672947" cy="630719"/>
                    <a:chOff x="1674646" y="2533771"/>
                    <a:chExt cx="1537885" cy="1441380"/>
                  </a:xfrm>
                </p:grpSpPr>
                <p:pic>
                  <p:nvPicPr>
                    <p:cNvPr id="28" name="Picture 9" descr="C:\Maki\GTMResearch\Microgrids\PowerPlantIco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71150" y="2533771"/>
                      <a:ext cx="1441381" cy="144138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6"/>
                    <a:stretch>
                      <a:fillRect/>
                    </a:stretch>
                  </p:blipFill>
                  <p:spPr>
                    <a:xfrm>
                      <a:off x="1875012" y="3148148"/>
                      <a:ext cx="1099825" cy="619375"/>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9501" y="2586726"/>
                      <a:ext cx="734249" cy="1163838"/>
                    </a:xfrm>
                    <a:prstGeom prst="rect">
                      <a:avLst/>
                    </a:prstGeom>
                  </p:spPr>
                </p:pic>
                <p:pic>
                  <p:nvPicPr>
                    <p:cNvPr id="31" name="Picture 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6498" t="12499" r="44113" b="12500"/>
                    <a:stretch/>
                  </p:blipFill>
                  <p:spPr bwMode="auto">
                    <a:xfrm>
                      <a:off x="2415678" y="3556601"/>
                      <a:ext cx="167503" cy="158686"/>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31"/>
                    <p:cNvPicPr>
                      <a:picLocks noChangeAspect="1"/>
                    </p:cNvPicPr>
                    <p:nvPr/>
                  </p:nvPicPr>
                  <p:blipFill rotWithShape="1">
                    <a:blip r:embed="rId9" cstate="print">
                      <a:extLst>
                        <a:ext uri="{28A0092B-C50C-407E-A947-70E740481C1C}">
                          <a14:useLocalDpi xmlns:a14="http://schemas.microsoft.com/office/drawing/2010/main" val="0"/>
                        </a:ext>
                      </a:extLst>
                    </a:blip>
                    <a:srcRect l="28291" t="89950"/>
                    <a:stretch/>
                  </p:blipFill>
                  <p:spPr>
                    <a:xfrm>
                      <a:off x="1856930" y="3388679"/>
                      <a:ext cx="1060808" cy="452261"/>
                    </a:xfrm>
                    <a:prstGeom prst="rect">
                      <a:avLst/>
                    </a:prstGeom>
                  </p:spPr>
                </p:pic>
                <p:pic>
                  <p:nvPicPr>
                    <p:cNvPr id="33" name="Picture 11" descr="C:\Maki\GTMResearch\Microgrids\Transformer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47374" y="3243837"/>
                      <a:ext cx="563864" cy="56386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0" descr="C:\Maki\GTMResearch\Microgrids\TransmissionTowerIcon.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74646" y="2586726"/>
                      <a:ext cx="982951" cy="1239978"/>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12"/>
                    <a:stretch>
                      <a:fillRect/>
                    </a:stretch>
                  </p:blipFill>
                  <p:spPr>
                    <a:xfrm>
                      <a:off x="2551260" y="3479505"/>
                      <a:ext cx="394815" cy="290627"/>
                    </a:xfrm>
                    <a:prstGeom prst="rect">
                      <a:avLst/>
                    </a:prstGeom>
                  </p:spPr>
                </p:pic>
                <p:grpSp>
                  <p:nvGrpSpPr>
                    <p:cNvPr id="36" name="Group 35"/>
                    <p:cNvGrpSpPr/>
                    <p:nvPr/>
                  </p:nvGrpSpPr>
                  <p:grpSpPr>
                    <a:xfrm>
                      <a:off x="2054218" y="3354032"/>
                      <a:ext cx="785663" cy="403108"/>
                      <a:chOff x="2173243" y="5572125"/>
                      <a:chExt cx="1339561" cy="606383"/>
                    </a:xfrm>
                  </p:grpSpPr>
                  <p:sp>
                    <p:nvSpPr>
                      <p:cNvPr id="37" name="Rounded Rectangle 202"/>
                      <p:cNvSpPr/>
                      <p:nvPr/>
                    </p:nvSpPr>
                    <p:spPr>
                      <a:xfrm>
                        <a:off x="2257014" y="5572125"/>
                        <a:ext cx="63242" cy="606145"/>
                      </a:xfrm>
                      <a:prstGeom prst="roundRect">
                        <a:avLst/>
                      </a:prstGeom>
                      <a:solidFill>
                        <a:srgbClr val="8E68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38" name="Rounded Rectangle 203"/>
                      <p:cNvSpPr/>
                      <p:nvPr/>
                    </p:nvSpPr>
                    <p:spPr>
                      <a:xfrm rot="5400000">
                        <a:off x="2271620" y="5536135"/>
                        <a:ext cx="22919" cy="219673"/>
                      </a:xfrm>
                      <a:prstGeom prst="roundRect">
                        <a:avLst/>
                      </a:prstGeom>
                      <a:solidFill>
                        <a:srgbClr val="8E6842"/>
                      </a:solidFill>
                      <a:ln w="12700">
                        <a:solidFill>
                          <a:schemeClr val="tx1">
                            <a:alpha val="3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grpSp>
                    <p:nvGrpSpPr>
                      <p:cNvPr id="39" name="Group 38"/>
                      <p:cNvGrpSpPr/>
                      <p:nvPr/>
                    </p:nvGrpSpPr>
                    <p:grpSpPr>
                      <a:xfrm>
                        <a:off x="2210788" y="5585514"/>
                        <a:ext cx="182880" cy="74112"/>
                        <a:chOff x="7939214" y="3033983"/>
                        <a:chExt cx="2169479" cy="879184"/>
                      </a:xfrm>
                    </p:grpSpPr>
                    <p:sp>
                      <p:nvSpPr>
                        <p:cNvPr id="71" name="Rectangle 70"/>
                        <p:cNvSpPr/>
                        <p:nvPr/>
                      </p:nvSpPr>
                      <p:spPr>
                        <a:xfrm>
                          <a:off x="7939214" y="3610711"/>
                          <a:ext cx="2042986" cy="3024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grpSp>
                      <p:nvGrpSpPr>
                        <p:cNvPr id="72" name="Group 71"/>
                        <p:cNvGrpSpPr/>
                        <p:nvPr/>
                      </p:nvGrpSpPr>
                      <p:grpSpPr>
                        <a:xfrm>
                          <a:off x="8014059" y="3033983"/>
                          <a:ext cx="647460" cy="610649"/>
                          <a:chOff x="7985923" y="3022361"/>
                          <a:chExt cx="647460" cy="610649"/>
                        </a:xfrm>
                        <a:solidFill>
                          <a:schemeClr val="accent5"/>
                        </a:solidFill>
                      </p:grpSpPr>
                      <p:sp>
                        <p:nvSpPr>
                          <p:cNvPr id="83" name="Oval 82"/>
                          <p:cNvSpPr/>
                          <p:nvPr/>
                        </p:nvSpPr>
                        <p:spPr>
                          <a:xfrm>
                            <a:off x="7985923" y="3168571"/>
                            <a:ext cx="450747" cy="26471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84" name="Isosceles Triangle 83"/>
                          <p:cNvSpPr/>
                          <p:nvPr/>
                        </p:nvSpPr>
                        <p:spPr>
                          <a:xfrm rot="5400000" flipH="1">
                            <a:off x="8345052" y="3132772"/>
                            <a:ext cx="228601" cy="348061"/>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85" name="Rectangle 84"/>
                          <p:cNvSpPr/>
                          <p:nvPr/>
                        </p:nvSpPr>
                        <p:spPr>
                          <a:xfrm>
                            <a:off x="8125180" y="3022361"/>
                            <a:ext cx="198421" cy="6024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86" name="Rectangle 85"/>
                          <p:cNvSpPr/>
                          <p:nvPr/>
                        </p:nvSpPr>
                        <p:spPr>
                          <a:xfrm>
                            <a:off x="7985923" y="3274836"/>
                            <a:ext cx="109902" cy="358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grpSp>
                    <p:grpSp>
                      <p:nvGrpSpPr>
                        <p:cNvPr id="73" name="Group 72"/>
                        <p:cNvGrpSpPr/>
                        <p:nvPr/>
                      </p:nvGrpSpPr>
                      <p:grpSpPr>
                        <a:xfrm>
                          <a:off x="8714936" y="3033983"/>
                          <a:ext cx="647460" cy="610649"/>
                          <a:chOff x="7985923" y="3022361"/>
                          <a:chExt cx="647460" cy="610649"/>
                        </a:xfrm>
                        <a:solidFill>
                          <a:schemeClr val="accent5"/>
                        </a:solidFill>
                      </p:grpSpPr>
                      <p:sp>
                        <p:nvSpPr>
                          <p:cNvPr id="79" name="Oval 78"/>
                          <p:cNvSpPr/>
                          <p:nvPr/>
                        </p:nvSpPr>
                        <p:spPr>
                          <a:xfrm>
                            <a:off x="7985923" y="3168571"/>
                            <a:ext cx="450747" cy="26471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80" name="Isosceles Triangle 79"/>
                          <p:cNvSpPr/>
                          <p:nvPr/>
                        </p:nvSpPr>
                        <p:spPr>
                          <a:xfrm rot="5400000" flipH="1">
                            <a:off x="8345052" y="3132772"/>
                            <a:ext cx="228601" cy="348061"/>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81" name="Rectangle 80"/>
                          <p:cNvSpPr/>
                          <p:nvPr/>
                        </p:nvSpPr>
                        <p:spPr>
                          <a:xfrm>
                            <a:off x="8140230" y="3022361"/>
                            <a:ext cx="196456" cy="6024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82" name="Rectangle 81"/>
                          <p:cNvSpPr/>
                          <p:nvPr/>
                        </p:nvSpPr>
                        <p:spPr>
                          <a:xfrm>
                            <a:off x="7985923" y="3274836"/>
                            <a:ext cx="109902" cy="358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grpSp>
                    <p:grpSp>
                      <p:nvGrpSpPr>
                        <p:cNvPr id="74" name="Group 73"/>
                        <p:cNvGrpSpPr/>
                        <p:nvPr/>
                      </p:nvGrpSpPr>
                      <p:grpSpPr>
                        <a:xfrm>
                          <a:off x="9461233" y="3033983"/>
                          <a:ext cx="647460" cy="610649"/>
                          <a:chOff x="7985923" y="3022361"/>
                          <a:chExt cx="647460" cy="610649"/>
                        </a:xfrm>
                        <a:solidFill>
                          <a:schemeClr val="accent5"/>
                        </a:solidFill>
                      </p:grpSpPr>
                      <p:sp>
                        <p:nvSpPr>
                          <p:cNvPr id="75" name="Oval 74"/>
                          <p:cNvSpPr/>
                          <p:nvPr/>
                        </p:nvSpPr>
                        <p:spPr>
                          <a:xfrm>
                            <a:off x="7985923" y="3168571"/>
                            <a:ext cx="450747" cy="26471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76" name="Isosceles Triangle 75"/>
                          <p:cNvSpPr/>
                          <p:nvPr/>
                        </p:nvSpPr>
                        <p:spPr>
                          <a:xfrm rot="5400000" flipH="1">
                            <a:off x="8345052" y="3132772"/>
                            <a:ext cx="228601" cy="348061"/>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77" name="Rectangle 76"/>
                          <p:cNvSpPr/>
                          <p:nvPr/>
                        </p:nvSpPr>
                        <p:spPr>
                          <a:xfrm>
                            <a:off x="8126162" y="3022361"/>
                            <a:ext cx="196456" cy="6024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78" name="Rectangle 77"/>
                          <p:cNvSpPr/>
                          <p:nvPr/>
                        </p:nvSpPr>
                        <p:spPr>
                          <a:xfrm>
                            <a:off x="7985923" y="3274836"/>
                            <a:ext cx="109902" cy="358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grpSp>
                  </p:grpSp>
                  <p:sp>
                    <p:nvSpPr>
                      <p:cNvPr id="40" name="Freeform 205"/>
                      <p:cNvSpPr/>
                      <p:nvPr/>
                    </p:nvSpPr>
                    <p:spPr>
                      <a:xfrm>
                        <a:off x="2387103" y="5617497"/>
                        <a:ext cx="1125701" cy="161166"/>
                      </a:xfrm>
                      <a:custGeom>
                        <a:avLst/>
                        <a:gdLst>
                          <a:gd name="connsiteX0" fmla="*/ 0 w 2786666"/>
                          <a:gd name="connsiteY0" fmla="*/ 15492 h 320323"/>
                          <a:gd name="connsiteX1" fmla="*/ 1638300 w 2786666"/>
                          <a:gd name="connsiteY1" fmla="*/ 320292 h 320323"/>
                          <a:gd name="connsiteX2" fmla="*/ 2667000 w 2786666"/>
                          <a:gd name="connsiteY2" fmla="*/ 34542 h 320323"/>
                          <a:gd name="connsiteX3" fmla="*/ 2724150 w 2786666"/>
                          <a:gd name="connsiteY3" fmla="*/ 15492 h 320323"/>
                          <a:gd name="connsiteX0" fmla="*/ 0 w 2777755"/>
                          <a:gd name="connsiteY0" fmla="*/ 26474 h 331305"/>
                          <a:gd name="connsiteX1" fmla="*/ 1638300 w 2777755"/>
                          <a:gd name="connsiteY1" fmla="*/ 331274 h 331305"/>
                          <a:gd name="connsiteX2" fmla="*/ 2667000 w 2777755"/>
                          <a:gd name="connsiteY2" fmla="*/ 45524 h 331305"/>
                          <a:gd name="connsiteX3" fmla="*/ 2707481 w 2777755"/>
                          <a:gd name="connsiteY3" fmla="*/ 9805 h 331305"/>
                          <a:gd name="connsiteX0" fmla="*/ 0 w 2755625"/>
                          <a:gd name="connsiteY0" fmla="*/ 24378 h 329209"/>
                          <a:gd name="connsiteX1" fmla="*/ 1638300 w 2755625"/>
                          <a:gd name="connsiteY1" fmla="*/ 329178 h 329209"/>
                          <a:gd name="connsiteX2" fmla="*/ 2667000 w 2755625"/>
                          <a:gd name="connsiteY2" fmla="*/ 43428 h 329209"/>
                          <a:gd name="connsiteX3" fmla="*/ 2707481 w 2755625"/>
                          <a:gd name="connsiteY3" fmla="*/ 7709 h 329209"/>
                          <a:gd name="connsiteX0" fmla="*/ 0 w 2710365"/>
                          <a:gd name="connsiteY0" fmla="*/ 21027 h 325858"/>
                          <a:gd name="connsiteX1" fmla="*/ 1638300 w 2710365"/>
                          <a:gd name="connsiteY1" fmla="*/ 325827 h 325858"/>
                          <a:gd name="connsiteX2" fmla="*/ 2667000 w 2710365"/>
                          <a:gd name="connsiteY2" fmla="*/ 40077 h 325858"/>
                          <a:gd name="connsiteX3" fmla="*/ 2538412 w 2710365"/>
                          <a:gd name="connsiteY3" fmla="*/ 9120 h 325858"/>
                          <a:gd name="connsiteX0" fmla="*/ 0 w 2724432"/>
                          <a:gd name="connsiteY0" fmla="*/ 0 h 390056"/>
                          <a:gd name="connsiteX1" fmla="*/ 1652367 w 2724432"/>
                          <a:gd name="connsiteY1" fmla="*/ 389206 h 390056"/>
                          <a:gd name="connsiteX2" fmla="*/ 2681067 w 2724432"/>
                          <a:gd name="connsiteY2" fmla="*/ 103456 h 390056"/>
                          <a:gd name="connsiteX3" fmla="*/ 2552479 w 2724432"/>
                          <a:gd name="connsiteY3" fmla="*/ 72499 h 390056"/>
                        </a:gdLst>
                        <a:ahLst/>
                        <a:cxnLst>
                          <a:cxn ang="0">
                            <a:pos x="connsiteX0" y="connsiteY0"/>
                          </a:cxn>
                          <a:cxn ang="0">
                            <a:pos x="connsiteX1" y="connsiteY1"/>
                          </a:cxn>
                          <a:cxn ang="0">
                            <a:pos x="connsiteX2" y="connsiteY2"/>
                          </a:cxn>
                          <a:cxn ang="0">
                            <a:pos x="connsiteX3" y="connsiteY3"/>
                          </a:cxn>
                        </a:cxnLst>
                        <a:rect l="l" t="t" r="r" b="b"/>
                        <a:pathLst>
                          <a:path w="2724432" h="390056">
                            <a:moveTo>
                              <a:pt x="0" y="0"/>
                            </a:moveTo>
                            <a:cubicBezTo>
                              <a:pt x="596900" y="150812"/>
                              <a:pt x="1205523" y="371963"/>
                              <a:pt x="1652367" y="389206"/>
                            </a:cubicBezTo>
                            <a:cubicBezTo>
                              <a:pt x="2099211" y="406449"/>
                              <a:pt x="2531048" y="156240"/>
                              <a:pt x="2681067" y="103456"/>
                            </a:cubicBezTo>
                            <a:cubicBezTo>
                              <a:pt x="2831086" y="50672"/>
                              <a:pt x="2542953" y="61386"/>
                              <a:pt x="2552479" y="72499"/>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41" name="Freeform 207"/>
                      <p:cNvSpPr/>
                      <p:nvPr/>
                    </p:nvSpPr>
                    <p:spPr>
                      <a:xfrm>
                        <a:off x="2303385" y="5618439"/>
                        <a:ext cx="1108263" cy="167074"/>
                      </a:xfrm>
                      <a:custGeom>
                        <a:avLst/>
                        <a:gdLst>
                          <a:gd name="connsiteX0" fmla="*/ 0 w 2786666"/>
                          <a:gd name="connsiteY0" fmla="*/ 15492 h 320323"/>
                          <a:gd name="connsiteX1" fmla="*/ 1638300 w 2786666"/>
                          <a:gd name="connsiteY1" fmla="*/ 320292 h 320323"/>
                          <a:gd name="connsiteX2" fmla="*/ 2667000 w 2786666"/>
                          <a:gd name="connsiteY2" fmla="*/ 34542 h 320323"/>
                          <a:gd name="connsiteX3" fmla="*/ 2724150 w 2786666"/>
                          <a:gd name="connsiteY3" fmla="*/ 15492 h 320323"/>
                          <a:gd name="connsiteX0" fmla="*/ 0 w 2777755"/>
                          <a:gd name="connsiteY0" fmla="*/ 26474 h 331305"/>
                          <a:gd name="connsiteX1" fmla="*/ 1638300 w 2777755"/>
                          <a:gd name="connsiteY1" fmla="*/ 331274 h 331305"/>
                          <a:gd name="connsiteX2" fmla="*/ 2667000 w 2777755"/>
                          <a:gd name="connsiteY2" fmla="*/ 45524 h 331305"/>
                          <a:gd name="connsiteX3" fmla="*/ 2707481 w 2777755"/>
                          <a:gd name="connsiteY3" fmla="*/ 9805 h 331305"/>
                          <a:gd name="connsiteX0" fmla="*/ 0 w 2755625"/>
                          <a:gd name="connsiteY0" fmla="*/ 24378 h 329209"/>
                          <a:gd name="connsiteX1" fmla="*/ 1638300 w 2755625"/>
                          <a:gd name="connsiteY1" fmla="*/ 329178 h 329209"/>
                          <a:gd name="connsiteX2" fmla="*/ 2667000 w 2755625"/>
                          <a:gd name="connsiteY2" fmla="*/ 43428 h 329209"/>
                          <a:gd name="connsiteX3" fmla="*/ 2707481 w 2755625"/>
                          <a:gd name="connsiteY3" fmla="*/ 7709 h 329209"/>
                          <a:gd name="connsiteX0" fmla="*/ 0 w 2710365"/>
                          <a:gd name="connsiteY0" fmla="*/ 21027 h 325858"/>
                          <a:gd name="connsiteX1" fmla="*/ 1638300 w 2710365"/>
                          <a:gd name="connsiteY1" fmla="*/ 325827 h 325858"/>
                          <a:gd name="connsiteX2" fmla="*/ 2667000 w 2710365"/>
                          <a:gd name="connsiteY2" fmla="*/ 40077 h 325858"/>
                          <a:gd name="connsiteX3" fmla="*/ 2538412 w 2710365"/>
                          <a:gd name="connsiteY3" fmla="*/ 9120 h 325858"/>
                          <a:gd name="connsiteX0" fmla="*/ 0 w 2654094"/>
                          <a:gd name="connsiteY0" fmla="*/ 0 h 433020"/>
                          <a:gd name="connsiteX1" fmla="*/ 1582029 w 2654094"/>
                          <a:gd name="connsiteY1" fmla="*/ 431409 h 433020"/>
                          <a:gd name="connsiteX2" fmla="*/ 2610729 w 2654094"/>
                          <a:gd name="connsiteY2" fmla="*/ 145659 h 433020"/>
                          <a:gd name="connsiteX3" fmla="*/ 2482141 w 2654094"/>
                          <a:gd name="connsiteY3" fmla="*/ 114702 h 433020"/>
                          <a:gd name="connsiteX0" fmla="*/ 0 w 2682230"/>
                          <a:gd name="connsiteY0" fmla="*/ 0 h 404354"/>
                          <a:gd name="connsiteX1" fmla="*/ 1610165 w 2682230"/>
                          <a:gd name="connsiteY1" fmla="*/ 403274 h 404354"/>
                          <a:gd name="connsiteX2" fmla="*/ 2638865 w 2682230"/>
                          <a:gd name="connsiteY2" fmla="*/ 117524 h 404354"/>
                          <a:gd name="connsiteX3" fmla="*/ 2510277 w 2682230"/>
                          <a:gd name="connsiteY3" fmla="*/ 86567 h 404354"/>
                        </a:gdLst>
                        <a:ahLst/>
                        <a:cxnLst>
                          <a:cxn ang="0">
                            <a:pos x="connsiteX0" y="connsiteY0"/>
                          </a:cxn>
                          <a:cxn ang="0">
                            <a:pos x="connsiteX1" y="connsiteY1"/>
                          </a:cxn>
                          <a:cxn ang="0">
                            <a:pos x="connsiteX2" y="connsiteY2"/>
                          </a:cxn>
                          <a:cxn ang="0">
                            <a:pos x="connsiteX3" y="connsiteY3"/>
                          </a:cxn>
                        </a:cxnLst>
                        <a:rect l="l" t="t" r="r" b="b"/>
                        <a:pathLst>
                          <a:path w="2682230" h="404354">
                            <a:moveTo>
                              <a:pt x="0" y="0"/>
                            </a:moveTo>
                            <a:cubicBezTo>
                              <a:pt x="596900" y="150812"/>
                              <a:pt x="1170354" y="383687"/>
                              <a:pt x="1610165" y="403274"/>
                            </a:cubicBezTo>
                            <a:cubicBezTo>
                              <a:pt x="2049976" y="422861"/>
                              <a:pt x="2488846" y="170308"/>
                              <a:pt x="2638865" y="117524"/>
                            </a:cubicBezTo>
                            <a:cubicBezTo>
                              <a:pt x="2788884" y="64740"/>
                              <a:pt x="2500751" y="75454"/>
                              <a:pt x="2510277" y="86567"/>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42" name="Freeform 208"/>
                      <p:cNvSpPr/>
                      <p:nvPr/>
                    </p:nvSpPr>
                    <p:spPr>
                      <a:xfrm>
                        <a:off x="2252246" y="5617473"/>
                        <a:ext cx="1050961" cy="155266"/>
                      </a:xfrm>
                      <a:custGeom>
                        <a:avLst/>
                        <a:gdLst>
                          <a:gd name="connsiteX0" fmla="*/ 0 w 2786666"/>
                          <a:gd name="connsiteY0" fmla="*/ 15492 h 320323"/>
                          <a:gd name="connsiteX1" fmla="*/ 1638300 w 2786666"/>
                          <a:gd name="connsiteY1" fmla="*/ 320292 h 320323"/>
                          <a:gd name="connsiteX2" fmla="*/ 2667000 w 2786666"/>
                          <a:gd name="connsiteY2" fmla="*/ 34542 h 320323"/>
                          <a:gd name="connsiteX3" fmla="*/ 2724150 w 2786666"/>
                          <a:gd name="connsiteY3" fmla="*/ 15492 h 320323"/>
                          <a:gd name="connsiteX0" fmla="*/ 0 w 2777755"/>
                          <a:gd name="connsiteY0" fmla="*/ 26474 h 331305"/>
                          <a:gd name="connsiteX1" fmla="*/ 1638300 w 2777755"/>
                          <a:gd name="connsiteY1" fmla="*/ 331274 h 331305"/>
                          <a:gd name="connsiteX2" fmla="*/ 2667000 w 2777755"/>
                          <a:gd name="connsiteY2" fmla="*/ 45524 h 331305"/>
                          <a:gd name="connsiteX3" fmla="*/ 2707481 w 2777755"/>
                          <a:gd name="connsiteY3" fmla="*/ 9805 h 331305"/>
                          <a:gd name="connsiteX0" fmla="*/ 0 w 2755625"/>
                          <a:gd name="connsiteY0" fmla="*/ 24378 h 329209"/>
                          <a:gd name="connsiteX1" fmla="*/ 1638300 w 2755625"/>
                          <a:gd name="connsiteY1" fmla="*/ 329178 h 329209"/>
                          <a:gd name="connsiteX2" fmla="*/ 2667000 w 2755625"/>
                          <a:gd name="connsiteY2" fmla="*/ 43428 h 329209"/>
                          <a:gd name="connsiteX3" fmla="*/ 2707481 w 2755625"/>
                          <a:gd name="connsiteY3" fmla="*/ 7709 h 329209"/>
                          <a:gd name="connsiteX0" fmla="*/ 0 w 2710365"/>
                          <a:gd name="connsiteY0" fmla="*/ 21027 h 325858"/>
                          <a:gd name="connsiteX1" fmla="*/ 1638300 w 2710365"/>
                          <a:gd name="connsiteY1" fmla="*/ 325827 h 325858"/>
                          <a:gd name="connsiteX2" fmla="*/ 2667000 w 2710365"/>
                          <a:gd name="connsiteY2" fmla="*/ 40077 h 325858"/>
                          <a:gd name="connsiteX3" fmla="*/ 2538412 w 2710365"/>
                          <a:gd name="connsiteY3" fmla="*/ 9120 h 325858"/>
                          <a:gd name="connsiteX0" fmla="*/ 0 w 2740494"/>
                          <a:gd name="connsiteY0" fmla="*/ 12524 h 317355"/>
                          <a:gd name="connsiteX1" fmla="*/ 1638300 w 2740494"/>
                          <a:gd name="connsiteY1" fmla="*/ 317324 h 317355"/>
                          <a:gd name="connsiteX2" fmla="*/ 2667000 w 2740494"/>
                          <a:gd name="connsiteY2" fmla="*/ 31574 h 317355"/>
                          <a:gd name="connsiteX3" fmla="*/ 2665021 w 2740494"/>
                          <a:gd name="connsiteY3" fmla="*/ 14684 h 317355"/>
                          <a:gd name="connsiteX0" fmla="*/ 0 w 2543547"/>
                          <a:gd name="connsiteY0" fmla="*/ 0 h 375776"/>
                          <a:gd name="connsiteX1" fmla="*/ 1441353 w 2543547"/>
                          <a:gd name="connsiteY1" fmla="*/ 375138 h 375776"/>
                          <a:gd name="connsiteX2" fmla="*/ 2470053 w 2543547"/>
                          <a:gd name="connsiteY2" fmla="*/ 89388 h 375776"/>
                          <a:gd name="connsiteX3" fmla="*/ 2468074 w 2543547"/>
                          <a:gd name="connsiteY3" fmla="*/ 72498 h 375776"/>
                        </a:gdLst>
                        <a:ahLst/>
                        <a:cxnLst>
                          <a:cxn ang="0">
                            <a:pos x="connsiteX0" y="connsiteY0"/>
                          </a:cxn>
                          <a:cxn ang="0">
                            <a:pos x="connsiteX1" y="connsiteY1"/>
                          </a:cxn>
                          <a:cxn ang="0">
                            <a:pos x="connsiteX2" y="connsiteY2"/>
                          </a:cxn>
                          <a:cxn ang="0">
                            <a:pos x="connsiteX3" y="connsiteY3"/>
                          </a:cxn>
                        </a:cxnLst>
                        <a:rect l="l" t="t" r="r" b="b"/>
                        <a:pathLst>
                          <a:path w="2543547" h="375776">
                            <a:moveTo>
                              <a:pt x="0" y="0"/>
                            </a:moveTo>
                            <a:cubicBezTo>
                              <a:pt x="596900" y="150812"/>
                              <a:pt x="1029678" y="360240"/>
                              <a:pt x="1441353" y="375138"/>
                            </a:cubicBezTo>
                            <a:cubicBezTo>
                              <a:pt x="1853029" y="390036"/>
                              <a:pt x="2298933" y="139828"/>
                              <a:pt x="2470053" y="89388"/>
                            </a:cubicBezTo>
                            <a:cubicBezTo>
                              <a:pt x="2641173" y="38948"/>
                              <a:pt x="2458548" y="61385"/>
                              <a:pt x="2468074" y="72498"/>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43" name="Rounded Rectangle 209"/>
                      <p:cNvSpPr/>
                      <p:nvPr/>
                    </p:nvSpPr>
                    <p:spPr>
                      <a:xfrm>
                        <a:off x="3363417" y="5572363"/>
                        <a:ext cx="63242" cy="606145"/>
                      </a:xfrm>
                      <a:prstGeom prst="roundRect">
                        <a:avLst/>
                      </a:prstGeom>
                      <a:solidFill>
                        <a:srgbClr val="8E68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44" name="Rounded Rectangle 210"/>
                      <p:cNvSpPr/>
                      <p:nvPr/>
                    </p:nvSpPr>
                    <p:spPr>
                      <a:xfrm rot="5400000">
                        <a:off x="3378023" y="5536373"/>
                        <a:ext cx="22919" cy="219673"/>
                      </a:xfrm>
                      <a:prstGeom prst="roundRect">
                        <a:avLst/>
                      </a:prstGeom>
                      <a:solidFill>
                        <a:srgbClr val="8E6842"/>
                      </a:solidFill>
                      <a:ln w="12700">
                        <a:solidFill>
                          <a:schemeClr val="tx1">
                            <a:alpha val="3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grpSp>
                    <p:nvGrpSpPr>
                      <p:cNvPr id="45" name="Group 44"/>
                      <p:cNvGrpSpPr/>
                      <p:nvPr/>
                    </p:nvGrpSpPr>
                    <p:grpSpPr>
                      <a:xfrm>
                        <a:off x="3331375" y="5599856"/>
                        <a:ext cx="137070" cy="134963"/>
                        <a:chOff x="-1094280" y="1366984"/>
                        <a:chExt cx="547897" cy="539472"/>
                      </a:xfrm>
                      <a:solidFill>
                        <a:schemeClr val="accent5"/>
                      </a:solidFill>
                    </p:grpSpPr>
                    <p:grpSp>
                      <p:nvGrpSpPr>
                        <p:cNvPr id="46" name="Group 45"/>
                        <p:cNvGrpSpPr/>
                        <p:nvPr/>
                      </p:nvGrpSpPr>
                      <p:grpSpPr>
                        <a:xfrm>
                          <a:off x="-755790" y="1634853"/>
                          <a:ext cx="209407" cy="271603"/>
                          <a:chOff x="-1285131" y="1775367"/>
                          <a:chExt cx="209407" cy="271603"/>
                        </a:xfrm>
                        <a:grpFill/>
                      </p:grpSpPr>
                      <p:grpSp>
                        <p:nvGrpSpPr>
                          <p:cNvPr id="66" name="Group 65"/>
                          <p:cNvGrpSpPr/>
                          <p:nvPr/>
                        </p:nvGrpSpPr>
                        <p:grpSpPr>
                          <a:xfrm>
                            <a:off x="-1250593" y="1775367"/>
                            <a:ext cx="140330" cy="92869"/>
                            <a:chOff x="-594166" y="2533586"/>
                            <a:chExt cx="140330" cy="92869"/>
                          </a:xfrm>
                          <a:grpFill/>
                        </p:grpSpPr>
                        <p:sp>
                          <p:nvSpPr>
                            <p:cNvPr id="69" name="Rectangle 68"/>
                            <p:cNvSpPr/>
                            <p:nvPr/>
                          </p:nvSpPr>
                          <p:spPr>
                            <a:xfrm rot="691718" flipV="1">
                              <a:off x="-499555" y="2533586"/>
                              <a:ext cx="45719" cy="92869"/>
                            </a:xfrm>
                            <a:prstGeom prst="rect">
                              <a:avLst/>
                            </a:prstGeom>
                            <a:grp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70" name="Rectangle 69"/>
                            <p:cNvSpPr/>
                            <p:nvPr/>
                          </p:nvSpPr>
                          <p:spPr>
                            <a:xfrm rot="20908282">
                              <a:off x="-594166" y="2533598"/>
                              <a:ext cx="45719" cy="91737"/>
                            </a:xfrm>
                            <a:prstGeom prst="rect">
                              <a:avLst/>
                            </a:prstGeom>
                            <a:grp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grpSp>
                      <p:sp>
                        <p:nvSpPr>
                          <p:cNvPr id="67" name="Rounded Rectangle 233"/>
                          <p:cNvSpPr/>
                          <p:nvPr/>
                        </p:nvSpPr>
                        <p:spPr>
                          <a:xfrm>
                            <a:off x="-1270432" y="1868665"/>
                            <a:ext cx="180008" cy="178305"/>
                          </a:xfrm>
                          <a:prstGeom prst="roundRect">
                            <a:avLst/>
                          </a:prstGeom>
                          <a:grp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68" name="Rectangle 67"/>
                          <p:cNvSpPr/>
                          <p:nvPr/>
                        </p:nvSpPr>
                        <p:spPr>
                          <a:xfrm>
                            <a:off x="-1285131" y="1844757"/>
                            <a:ext cx="209407" cy="45719"/>
                          </a:xfrm>
                          <a:prstGeom prst="rect">
                            <a:avLst/>
                          </a:prstGeom>
                          <a:grp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grpSp>
                    <p:grpSp>
                      <p:nvGrpSpPr>
                        <p:cNvPr id="47" name="Group 46"/>
                        <p:cNvGrpSpPr/>
                        <p:nvPr/>
                      </p:nvGrpSpPr>
                      <p:grpSpPr>
                        <a:xfrm>
                          <a:off x="-888582" y="1400682"/>
                          <a:ext cx="314915" cy="435680"/>
                          <a:chOff x="-888582" y="1414750"/>
                          <a:chExt cx="314915" cy="435680"/>
                        </a:xfrm>
                        <a:grpFill/>
                      </p:grpSpPr>
                      <p:sp>
                        <p:nvSpPr>
                          <p:cNvPr id="64" name="Rectangle 63"/>
                          <p:cNvSpPr/>
                          <p:nvPr/>
                        </p:nvSpPr>
                        <p:spPr>
                          <a:xfrm>
                            <a:off x="-888582" y="1414750"/>
                            <a:ext cx="314915" cy="435680"/>
                          </a:xfrm>
                          <a:prstGeom prst="rect">
                            <a:avLst/>
                          </a:prstGeom>
                          <a:grpFill/>
                          <a:ln w="6350">
                            <a:solidFill>
                              <a:schemeClr val="bg1">
                                <a:lumMod val="75000"/>
                              </a:schemeClr>
                            </a:solidFill>
                          </a:ln>
                          <a:scene3d>
                            <a:camera prst="orthographicFront">
                              <a:rot lat="0" lon="21599989"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65" name="Rectangle 64"/>
                          <p:cNvSpPr/>
                          <p:nvPr/>
                        </p:nvSpPr>
                        <p:spPr>
                          <a:xfrm>
                            <a:off x="-878122" y="1414750"/>
                            <a:ext cx="253330" cy="435680"/>
                          </a:xfrm>
                          <a:prstGeom prst="rect">
                            <a:avLst/>
                          </a:prstGeom>
                          <a:grpFill/>
                          <a:ln w="6350">
                            <a:solidFill>
                              <a:schemeClr val="bg1">
                                <a:lumMod val="75000"/>
                              </a:schemeClr>
                            </a:solidFill>
                          </a:ln>
                          <a:scene3d>
                            <a:camera prst="orthographicFront">
                              <a:rot lat="0" lon="21599989"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grpSp>
                    <p:grpSp>
                      <p:nvGrpSpPr>
                        <p:cNvPr id="48" name="Group 47"/>
                        <p:cNvGrpSpPr/>
                        <p:nvPr/>
                      </p:nvGrpSpPr>
                      <p:grpSpPr>
                        <a:xfrm>
                          <a:off x="-962122" y="1383833"/>
                          <a:ext cx="314915" cy="435680"/>
                          <a:chOff x="-888582" y="1414750"/>
                          <a:chExt cx="314915" cy="435680"/>
                        </a:xfrm>
                        <a:grpFill/>
                      </p:grpSpPr>
                      <p:sp>
                        <p:nvSpPr>
                          <p:cNvPr id="62" name="Rectangle 61"/>
                          <p:cNvSpPr/>
                          <p:nvPr/>
                        </p:nvSpPr>
                        <p:spPr>
                          <a:xfrm>
                            <a:off x="-888582" y="1414750"/>
                            <a:ext cx="314915" cy="435680"/>
                          </a:xfrm>
                          <a:prstGeom prst="rect">
                            <a:avLst/>
                          </a:prstGeom>
                          <a:grpFill/>
                          <a:ln w="6350">
                            <a:solidFill>
                              <a:schemeClr val="bg1">
                                <a:lumMod val="75000"/>
                              </a:schemeClr>
                            </a:solidFill>
                          </a:ln>
                          <a:scene3d>
                            <a:camera prst="orthographicFront">
                              <a:rot lat="0" lon="21599989"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63" name="Rectangle 62"/>
                          <p:cNvSpPr/>
                          <p:nvPr/>
                        </p:nvSpPr>
                        <p:spPr>
                          <a:xfrm>
                            <a:off x="-878122" y="1414750"/>
                            <a:ext cx="253330" cy="435680"/>
                          </a:xfrm>
                          <a:prstGeom prst="rect">
                            <a:avLst/>
                          </a:prstGeom>
                          <a:grpFill/>
                          <a:ln w="6350">
                            <a:solidFill>
                              <a:schemeClr val="bg1">
                                <a:lumMod val="75000"/>
                              </a:schemeClr>
                            </a:solidFill>
                          </a:ln>
                          <a:scene3d>
                            <a:camera prst="orthographicFront">
                              <a:rot lat="0" lon="21599989"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grpSp>
                    <p:grpSp>
                      <p:nvGrpSpPr>
                        <p:cNvPr id="49" name="Group 48"/>
                        <p:cNvGrpSpPr/>
                        <p:nvPr/>
                      </p:nvGrpSpPr>
                      <p:grpSpPr>
                        <a:xfrm>
                          <a:off x="-1041787" y="1366984"/>
                          <a:ext cx="316360" cy="435680"/>
                          <a:chOff x="-890027" y="1414750"/>
                          <a:chExt cx="316360" cy="435680"/>
                        </a:xfrm>
                        <a:grpFill/>
                      </p:grpSpPr>
                      <p:sp>
                        <p:nvSpPr>
                          <p:cNvPr id="60" name="Rectangle 59"/>
                          <p:cNvSpPr/>
                          <p:nvPr/>
                        </p:nvSpPr>
                        <p:spPr>
                          <a:xfrm>
                            <a:off x="-888582" y="1414750"/>
                            <a:ext cx="314915" cy="435680"/>
                          </a:xfrm>
                          <a:prstGeom prst="rect">
                            <a:avLst/>
                          </a:prstGeom>
                          <a:grpFill/>
                          <a:ln w="6350">
                            <a:solidFill>
                              <a:schemeClr val="bg1">
                                <a:lumMod val="75000"/>
                              </a:schemeClr>
                            </a:solidFill>
                          </a:ln>
                          <a:scene3d>
                            <a:camera prst="orthographicFront">
                              <a:rot lat="0" lon="21599989"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61" name="Rectangle 60"/>
                          <p:cNvSpPr/>
                          <p:nvPr/>
                        </p:nvSpPr>
                        <p:spPr>
                          <a:xfrm>
                            <a:off x="-890027" y="1414750"/>
                            <a:ext cx="253330" cy="435680"/>
                          </a:xfrm>
                          <a:prstGeom prst="rect">
                            <a:avLst/>
                          </a:prstGeom>
                          <a:grpFill/>
                          <a:ln w="6350">
                            <a:solidFill>
                              <a:schemeClr val="bg1">
                                <a:lumMod val="75000"/>
                              </a:schemeClr>
                            </a:solidFill>
                          </a:ln>
                          <a:scene3d>
                            <a:camera prst="orthographicFront">
                              <a:rot lat="0" lon="21599989"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grpSp>
                    <p:sp>
                      <p:nvSpPr>
                        <p:cNvPr id="50" name="Trapezoid 49"/>
                        <p:cNvSpPr/>
                        <p:nvPr/>
                      </p:nvSpPr>
                      <p:spPr>
                        <a:xfrm rot="351350" flipV="1">
                          <a:off x="-794415" y="1611461"/>
                          <a:ext cx="227374" cy="47757"/>
                        </a:xfrm>
                        <a:prstGeom prst="trapezoid">
                          <a:avLst>
                            <a:gd name="adj" fmla="val 0"/>
                          </a:avLst>
                        </a:prstGeom>
                        <a:grp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51" name="Trapezoid 50"/>
                        <p:cNvSpPr/>
                        <p:nvPr/>
                      </p:nvSpPr>
                      <p:spPr>
                        <a:xfrm rot="216295" flipV="1">
                          <a:off x="-786446" y="1760748"/>
                          <a:ext cx="227374" cy="45719"/>
                        </a:xfrm>
                        <a:prstGeom prst="trapezoid">
                          <a:avLst>
                            <a:gd name="adj" fmla="val 0"/>
                          </a:avLst>
                        </a:prstGeom>
                        <a:grp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52" name="Rectangle 51"/>
                        <p:cNvSpPr/>
                        <p:nvPr/>
                      </p:nvSpPr>
                      <p:spPr>
                        <a:xfrm>
                          <a:off x="-1041787" y="1598041"/>
                          <a:ext cx="243466" cy="45719"/>
                        </a:xfrm>
                        <a:prstGeom prst="rect">
                          <a:avLst/>
                        </a:prstGeom>
                        <a:grp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53" name="Rectangle 52"/>
                        <p:cNvSpPr/>
                        <p:nvPr/>
                      </p:nvSpPr>
                      <p:spPr>
                        <a:xfrm>
                          <a:off x="-1032325" y="1753691"/>
                          <a:ext cx="243466" cy="45719"/>
                        </a:xfrm>
                        <a:prstGeom prst="rect">
                          <a:avLst/>
                        </a:prstGeom>
                        <a:grp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grpSp>
                      <p:nvGrpSpPr>
                        <p:cNvPr id="54" name="Group 53"/>
                        <p:cNvGrpSpPr/>
                        <p:nvPr/>
                      </p:nvGrpSpPr>
                      <p:grpSpPr>
                        <a:xfrm>
                          <a:off x="-1094280" y="1601673"/>
                          <a:ext cx="209407" cy="271603"/>
                          <a:chOff x="-1285131" y="1775367"/>
                          <a:chExt cx="209407" cy="271603"/>
                        </a:xfrm>
                        <a:grpFill/>
                      </p:grpSpPr>
                      <p:grpSp>
                        <p:nvGrpSpPr>
                          <p:cNvPr id="55" name="Group 54"/>
                          <p:cNvGrpSpPr/>
                          <p:nvPr/>
                        </p:nvGrpSpPr>
                        <p:grpSpPr>
                          <a:xfrm>
                            <a:off x="-1250593" y="1775367"/>
                            <a:ext cx="140330" cy="92869"/>
                            <a:chOff x="-594166" y="2533586"/>
                            <a:chExt cx="140330" cy="92869"/>
                          </a:xfrm>
                          <a:grpFill/>
                        </p:grpSpPr>
                        <p:sp>
                          <p:nvSpPr>
                            <p:cNvPr id="58" name="Rectangle 57"/>
                            <p:cNvSpPr/>
                            <p:nvPr/>
                          </p:nvSpPr>
                          <p:spPr>
                            <a:xfrm rot="691718" flipV="1">
                              <a:off x="-499555" y="2533586"/>
                              <a:ext cx="45719" cy="92869"/>
                            </a:xfrm>
                            <a:prstGeom prst="rect">
                              <a:avLst/>
                            </a:prstGeom>
                            <a:grp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59" name="Rectangle 58"/>
                            <p:cNvSpPr/>
                            <p:nvPr/>
                          </p:nvSpPr>
                          <p:spPr>
                            <a:xfrm rot="20908282">
                              <a:off x="-594166" y="2533598"/>
                              <a:ext cx="45719" cy="91737"/>
                            </a:xfrm>
                            <a:prstGeom prst="rect">
                              <a:avLst/>
                            </a:prstGeom>
                            <a:grp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grpSp>
                      <p:sp>
                        <p:nvSpPr>
                          <p:cNvPr id="56" name="Rounded Rectangle 222"/>
                          <p:cNvSpPr/>
                          <p:nvPr/>
                        </p:nvSpPr>
                        <p:spPr>
                          <a:xfrm>
                            <a:off x="-1270432" y="1868665"/>
                            <a:ext cx="180008" cy="178305"/>
                          </a:xfrm>
                          <a:prstGeom prst="roundRect">
                            <a:avLst/>
                          </a:prstGeom>
                          <a:grp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sp>
                        <p:nvSpPr>
                          <p:cNvPr id="57" name="Rectangle 56"/>
                          <p:cNvSpPr/>
                          <p:nvPr/>
                        </p:nvSpPr>
                        <p:spPr>
                          <a:xfrm>
                            <a:off x="-1285131" y="1844757"/>
                            <a:ext cx="209407" cy="45719"/>
                          </a:xfrm>
                          <a:prstGeom prst="rect">
                            <a:avLst/>
                          </a:prstGeom>
                          <a:grp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F2B4B"/>
                              </a:buClr>
                            </a:pPr>
                            <a:endParaRPr lang="en-US" sz="1050" dirty="0">
                              <a:solidFill>
                                <a:prstClr val="white"/>
                              </a:solidFill>
                              <a:latin typeface="Calibri Light"/>
                            </a:endParaRPr>
                          </a:p>
                        </p:txBody>
                      </p:sp>
                    </p:grpSp>
                  </p:grpSp>
                </p:grpSp>
              </p:grpSp>
            </p:grpSp>
            <p:sp>
              <p:nvSpPr>
                <p:cNvPr id="87" name="TextBox 86"/>
                <p:cNvSpPr txBox="1"/>
                <p:nvPr/>
              </p:nvSpPr>
              <p:spPr>
                <a:xfrm>
                  <a:off x="479134" y="3458254"/>
                  <a:ext cx="1226435" cy="201176"/>
                </a:xfrm>
                <a:prstGeom prst="rect">
                  <a:avLst/>
                </a:prstGeom>
                <a:noFill/>
              </p:spPr>
              <p:txBody>
                <a:bodyPr wrap="square" lIns="0" tIns="0" rIns="0" bIns="0" rtlCol="0">
                  <a:spAutoFit/>
                </a:bodyPr>
                <a:lstStyle/>
                <a:p>
                  <a:pPr algn="ctr" defTabSz="685757">
                    <a:buClr>
                      <a:srgbClr val="0F2B4B"/>
                    </a:buClr>
                  </a:pPr>
                  <a:r>
                    <a:rPr lang="en-US" sz="900" b="1" dirty="0">
                      <a:solidFill>
                        <a:srgbClr val="0F2B4B"/>
                      </a:solidFill>
                      <a:latin typeface="Calibri Light"/>
                    </a:rPr>
                    <a:t>Utility</a:t>
                  </a:r>
                </a:p>
              </p:txBody>
            </p:sp>
          </p:grpSp>
          <p:pic>
            <p:nvPicPr>
              <p:cNvPr id="131" name="Picture 130"/>
              <p:cNvPicPr>
                <a:picLocks noChangeAspect="1"/>
              </p:cNvPicPr>
              <p:nvPr/>
            </p:nvPicPr>
            <p:blipFill rotWithShape="1">
              <a:blip r:embed="rId13" cstate="print">
                <a:extLst>
                  <a:ext uri="{28A0092B-C50C-407E-A947-70E740481C1C}">
                    <a14:useLocalDpi xmlns:a14="http://schemas.microsoft.com/office/drawing/2010/main" val="0"/>
                  </a:ext>
                </a:extLst>
              </a:blip>
              <a:srcRect l="32627" t="34332" r="32758"/>
              <a:stretch/>
            </p:blipFill>
            <p:spPr>
              <a:xfrm>
                <a:off x="1002954" y="5271067"/>
                <a:ext cx="339968" cy="484197"/>
              </a:xfrm>
              <a:prstGeom prst="rect">
                <a:avLst/>
              </a:prstGeom>
            </p:spPr>
          </p:pic>
        </p:grpSp>
        <p:cxnSp>
          <p:nvCxnSpPr>
            <p:cNvPr id="7" name="Straight Arrow Connector 6"/>
            <p:cNvCxnSpPr/>
            <p:nvPr/>
          </p:nvCxnSpPr>
          <p:spPr>
            <a:xfrm flipH="1">
              <a:off x="6916157" y="5368873"/>
              <a:ext cx="2953386" cy="2922"/>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stCxn id="25" idx="5"/>
              <a:endCxn id="116" idx="2"/>
            </p:cNvCxnSpPr>
            <p:nvPr/>
          </p:nvCxnSpPr>
          <p:spPr>
            <a:xfrm rot="16200000" flipH="1">
              <a:off x="8706761" y="3531698"/>
              <a:ext cx="91099" cy="3851575"/>
            </a:xfrm>
            <a:prstGeom prst="bentConnector3">
              <a:avLst>
                <a:gd name="adj1" fmla="val 521474"/>
              </a:avLst>
            </a:prstGeom>
            <a:ln w="635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1" name="TextBox 140"/>
            <p:cNvSpPr txBox="1"/>
            <p:nvPr/>
          </p:nvSpPr>
          <p:spPr>
            <a:xfrm>
              <a:off x="7975244" y="5576298"/>
              <a:ext cx="1051296" cy="301765"/>
            </a:xfrm>
            <a:prstGeom prst="rect">
              <a:avLst/>
            </a:prstGeom>
            <a:noFill/>
          </p:spPr>
          <p:txBody>
            <a:bodyPr wrap="square" lIns="0" tIns="0" rIns="0" bIns="0" rtlCol="0">
              <a:spAutoFit/>
            </a:bodyPr>
            <a:lstStyle/>
            <a:p>
              <a:pPr algn="ctr" defTabSz="685757">
                <a:buClr>
                  <a:srgbClr val="0F2B4B"/>
                </a:buClr>
              </a:pPr>
              <a:r>
                <a:rPr lang="en-US" sz="675" b="1" dirty="0">
                  <a:solidFill>
                    <a:srgbClr val="94AA5E"/>
                  </a:solidFill>
                  <a:latin typeface="Calibri Light"/>
                </a:rPr>
                <a:t>Revenue</a:t>
              </a:r>
            </a:p>
            <a:p>
              <a:pPr algn="ctr" defTabSz="685757">
                <a:buClr>
                  <a:srgbClr val="0F2B4B"/>
                </a:buClr>
              </a:pPr>
              <a:r>
                <a:rPr lang="en-US" sz="675" dirty="0">
                  <a:solidFill>
                    <a:srgbClr val="0F2B4B"/>
                  </a:solidFill>
                  <a:latin typeface="Calibri Light"/>
                </a:rPr>
                <a:t>Utility bill credit</a:t>
              </a:r>
            </a:p>
          </p:txBody>
        </p:sp>
      </p:grpSp>
      <p:grpSp>
        <p:nvGrpSpPr>
          <p:cNvPr id="4" name="Group 3"/>
          <p:cNvGrpSpPr/>
          <p:nvPr/>
        </p:nvGrpSpPr>
        <p:grpSpPr>
          <a:xfrm>
            <a:off x="273505" y="1904197"/>
            <a:ext cx="4116160" cy="2587512"/>
            <a:chOff x="3265230" y="2114577"/>
            <a:chExt cx="5593696" cy="3516325"/>
          </a:xfrm>
        </p:grpSpPr>
        <p:sp>
          <p:nvSpPr>
            <p:cNvPr id="105" name="Rectangle 104"/>
            <p:cNvSpPr/>
            <p:nvPr/>
          </p:nvSpPr>
          <p:spPr>
            <a:xfrm>
              <a:off x="5248610" y="2882044"/>
              <a:ext cx="1648984" cy="1016786"/>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40500" tIns="40500" rIns="40500" bIns="40500" rtlCol="0" anchor="ctr"/>
            <a:lstStyle/>
            <a:p>
              <a:pPr algn="ctr" defTabSz="685757">
                <a:buClr>
                  <a:srgbClr val="0F2B4B"/>
                </a:buClr>
              </a:pPr>
              <a:r>
                <a:rPr lang="en-US" sz="750" b="1" dirty="0">
                  <a:solidFill>
                    <a:prstClr val="white"/>
                  </a:solidFill>
                  <a:latin typeface="Calibri Light"/>
                </a:rPr>
                <a:t>DER ‘Broker’</a:t>
              </a:r>
            </a:p>
            <a:p>
              <a:pPr marL="128588" indent="-128588" defTabSz="685757">
                <a:buClr>
                  <a:prstClr val="white"/>
                </a:buClr>
                <a:buFont typeface="Arial" panose="020B0604020202020204" pitchFamily="34" charset="0"/>
                <a:buChar char="•"/>
              </a:pPr>
              <a:r>
                <a:rPr lang="en-US" sz="675" dirty="0">
                  <a:solidFill>
                    <a:prstClr val="white"/>
                  </a:solidFill>
                  <a:latin typeface="Calibri Light"/>
                </a:rPr>
                <a:t>Allocate dispatch </a:t>
              </a:r>
            </a:p>
            <a:p>
              <a:pPr marL="128588" indent="-128588" defTabSz="685757">
                <a:buClr>
                  <a:prstClr val="white"/>
                </a:buClr>
                <a:buFont typeface="Arial" panose="020B0604020202020204" pitchFamily="34" charset="0"/>
                <a:buChar char="•"/>
              </a:pPr>
              <a:r>
                <a:rPr lang="en-US" sz="675" dirty="0">
                  <a:solidFill>
                    <a:prstClr val="white"/>
                  </a:solidFill>
                  <a:latin typeface="Calibri Light"/>
                </a:rPr>
                <a:t>Measurement</a:t>
              </a:r>
            </a:p>
            <a:p>
              <a:pPr marL="128588" indent="-128588" defTabSz="685757">
                <a:buClr>
                  <a:prstClr val="white"/>
                </a:buClr>
                <a:buFont typeface="Arial" panose="020B0604020202020204" pitchFamily="34" charset="0"/>
                <a:buChar char="•"/>
              </a:pPr>
              <a:r>
                <a:rPr lang="en-US" sz="675" dirty="0">
                  <a:solidFill>
                    <a:prstClr val="white"/>
                  </a:solidFill>
                  <a:latin typeface="Calibri Light"/>
                </a:rPr>
                <a:t>Technology and equipment</a:t>
              </a:r>
            </a:p>
            <a:p>
              <a:pPr marL="128588" indent="-128588" defTabSz="685757">
                <a:buClr>
                  <a:prstClr val="white"/>
                </a:buClr>
                <a:buFont typeface="Arial" panose="020B0604020202020204" pitchFamily="34" charset="0"/>
                <a:buChar char="•"/>
              </a:pPr>
              <a:r>
                <a:rPr lang="en-US" sz="675" dirty="0">
                  <a:solidFill>
                    <a:prstClr val="white"/>
                  </a:solidFill>
                  <a:latin typeface="Calibri Light"/>
                </a:rPr>
                <a:t>Compensation for  resource activated </a:t>
              </a:r>
            </a:p>
          </p:txBody>
        </p:sp>
        <p:cxnSp>
          <p:nvCxnSpPr>
            <p:cNvPr id="110" name="Straight Arrow Connector 109"/>
            <p:cNvCxnSpPr/>
            <p:nvPr/>
          </p:nvCxnSpPr>
          <p:spPr>
            <a:xfrm flipH="1" flipV="1">
              <a:off x="4687998" y="5198755"/>
              <a:ext cx="2712944" cy="3694"/>
            </a:xfrm>
            <a:prstGeom prst="straightConnector1">
              <a:avLst/>
            </a:prstGeom>
            <a:ln w="9525" cap="flat" cmpd="sng" algn="ctr">
              <a:solidFill>
                <a:schemeClr val="accent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111" name="TextBox 110"/>
            <p:cNvSpPr txBox="1"/>
            <p:nvPr/>
          </p:nvSpPr>
          <p:spPr>
            <a:xfrm>
              <a:off x="4675284" y="5348579"/>
              <a:ext cx="2621563" cy="282323"/>
            </a:xfrm>
            <a:prstGeom prst="rect">
              <a:avLst/>
            </a:prstGeom>
            <a:noFill/>
          </p:spPr>
          <p:txBody>
            <a:bodyPr wrap="square" lIns="0" tIns="0" rIns="0" bIns="0" rtlCol="0">
              <a:spAutoFit/>
            </a:bodyPr>
            <a:lstStyle/>
            <a:p>
              <a:pPr algn="ctr" defTabSz="685757">
                <a:buClr>
                  <a:srgbClr val="0F2B4B"/>
                </a:buClr>
              </a:pPr>
              <a:r>
                <a:rPr lang="en-US" sz="675" b="1" dirty="0">
                  <a:solidFill>
                    <a:srgbClr val="0C56A6"/>
                  </a:solidFill>
                  <a:latin typeface="Calibri Light"/>
                </a:rPr>
                <a:t>Service Provision </a:t>
              </a:r>
            </a:p>
            <a:p>
              <a:pPr algn="ctr" defTabSz="685757">
                <a:buClr>
                  <a:srgbClr val="0F2B4B"/>
                </a:buClr>
              </a:pPr>
              <a:r>
                <a:rPr lang="en-US" sz="675" dirty="0">
                  <a:solidFill>
                    <a:srgbClr val="0F2B4B"/>
                  </a:solidFill>
                  <a:latin typeface="Calibri Light"/>
                </a:rPr>
                <a:t>Load modification in response to control signal</a:t>
              </a:r>
            </a:p>
          </p:txBody>
        </p:sp>
        <p:sp>
          <p:nvSpPr>
            <p:cNvPr id="113" name="TextBox 112"/>
            <p:cNvSpPr txBox="1"/>
            <p:nvPr/>
          </p:nvSpPr>
          <p:spPr>
            <a:xfrm>
              <a:off x="6491656" y="4020245"/>
              <a:ext cx="1390013" cy="423485"/>
            </a:xfrm>
            <a:prstGeom prst="rect">
              <a:avLst/>
            </a:prstGeom>
            <a:noFill/>
          </p:spPr>
          <p:txBody>
            <a:bodyPr wrap="square" lIns="0" tIns="0" rIns="0" bIns="0" rtlCol="0">
              <a:spAutoFit/>
            </a:bodyPr>
            <a:lstStyle/>
            <a:p>
              <a:pPr algn="ctr" defTabSz="685757">
                <a:buClr>
                  <a:srgbClr val="0F2B4B"/>
                </a:buClr>
              </a:pPr>
              <a:r>
                <a:rPr lang="en-US" sz="675" b="1" dirty="0">
                  <a:solidFill>
                    <a:srgbClr val="E38825"/>
                  </a:solidFill>
                  <a:latin typeface="Calibri Light"/>
                </a:rPr>
                <a:t>Information</a:t>
              </a:r>
            </a:p>
            <a:p>
              <a:pPr algn="ctr" defTabSz="685757">
                <a:buClr>
                  <a:srgbClr val="0F2B4B"/>
                </a:buClr>
              </a:pPr>
              <a:r>
                <a:rPr lang="en-US" sz="675" dirty="0">
                  <a:solidFill>
                    <a:srgbClr val="0F2B4B"/>
                  </a:solidFill>
                  <a:latin typeface="Calibri Light"/>
                </a:rPr>
                <a:t>Energy usage, availability, </a:t>
              </a:r>
            </a:p>
            <a:p>
              <a:pPr algn="ctr" defTabSz="685757">
                <a:buClr>
                  <a:srgbClr val="0F2B4B"/>
                </a:buClr>
              </a:pPr>
              <a:r>
                <a:rPr lang="en-US" sz="675" dirty="0">
                  <a:solidFill>
                    <a:srgbClr val="0F2B4B"/>
                  </a:solidFill>
                  <a:latin typeface="Calibri Light"/>
                </a:rPr>
                <a:t>control signals</a:t>
              </a:r>
            </a:p>
          </p:txBody>
        </p:sp>
        <p:sp>
          <p:nvSpPr>
            <p:cNvPr id="114" name="TextBox 113"/>
            <p:cNvSpPr txBox="1"/>
            <p:nvPr/>
          </p:nvSpPr>
          <p:spPr>
            <a:xfrm>
              <a:off x="4105219" y="3980625"/>
              <a:ext cx="1100240" cy="282323"/>
            </a:xfrm>
            <a:prstGeom prst="rect">
              <a:avLst/>
            </a:prstGeom>
            <a:noFill/>
          </p:spPr>
          <p:txBody>
            <a:bodyPr wrap="square" lIns="0" tIns="0" rIns="0" bIns="0" rtlCol="0">
              <a:spAutoFit/>
            </a:bodyPr>
            <a:lstStyle/>
            <a:p>
              <a:pPr algn="ctr" defTabSz="685757">
                <a:buClr>
                  <a:srgbClr val="0F2B4B"/>
                </a:buClr>
              </a:pPr>
              <a:r>
                <a:rPr lang="en-US" sz="675" b="1" dirty="0">
                  <a:solidFill>
                    <a:srgbClr val="E38825"/>
                  </a:solidFill>
                  <a:latin typeface="Calibri Light"/>
                </a:rPr>
                <a:t>Information</a:t>
              </a:r>
            </a:p>
            <a:p>
              <a:pPr algn="ctr" defTabSz="685757">
                <a:buClr>
                  <a:srgbClr val="0F2B4B"/>
                </a:buClr>
              </a:pPr>
              <a:r>
                <a:rPr lang="en-US" sz="675" dirty="0">
                  <a:solidFill>
                    <a:srgbClr val="0F2B4B"/>
                  </a:solidFill>
                  <a:latin typeface="Calibri Light"/>
                </a:rPr>
                <a:t>Bids, dispatch signals</a:t>
              </a:r>
            </a:p>
          </p:txBody>
        </p:sp>
        <p:sp>
          <p:nvSpPr>
            <p:cNvPr id="118" name="TextBox 117"/>
            <p:cNvSpPr txBox="1"/>
            <p:nvPr/>
          </p:nvSpPr>
          <p:spPr>
            <a:xfrm>
              <a:off x="3265230" y="2762298"/>
              <a:ext cx="2116867" cy="564645"/>
            </a:xfrm>
            <a:prstGeom prst="rect">
              <a:avLst/>
            </a:prstGeom>
            <a:noFill/>
          </p:spPr>
          <p:txBody>
            <a:bodyPr wrap="square" lIns="0" tIns="0" rIns="0" bIns="0" rtlCol="0">
              <a:spAutoFit/>
            </a:bodyPr>
            <a:lstStyle/>
            <a:p>
              <a:pPr algn="ctr" defTabSz="685757">
                <a:buClr>
                  <a:srgbClr val="0F2B4B"/>
                </a:buClr>
              </a:pPr>
              <a:r>
                <a:rPr lang="en-US" sz="675" b="1" dirty="0">
                  <a:solidFill>
                    <a:srgbClr val="94AA5E"/>
                  </a:solidFill>
                  <a:latin typeface="Calibri Light"/>
                </a:rPr>
                <a:t>Service Payment</a:t>
              </a:r>
            </a:p>
            <a:p>
              <a:pPr algn="ctr" defTabSz="685757">
                <a:buClr>
                  <a:srgbClr val="0F2B4B"/>
                </a:buClr>
              </a:pPr>
              <a:r>
                <a:rPr lang="en-US" sz="675" dirty="0">
                  <a:solidFill>
                    <a:srgbClr val="0F2B4B"/>
                  </a:solidFill>
                  <a:latin typeface="Calibri Light"/>
                </a:rPr>
                <a:t>Capacity </a:t>
              </a:r>
            </a:p>
            <a:p>
              <a:pPr algn="ctr" defTabSz="685757">
                <a:buClr>
                  <a:srgbClr val="0F2B4B"/>
                </a:buClr>
              </a:pPr>
              <a:r>
                <a:rPr lang="en-US" sz="675" dirty="0">
                  <a:solidFill>
                    <a:srgbClr val="0F2B4B"/>
                  </a:solidFill>
                  <a:latin typeface="Calibri Light"/>
                </a:rPr>
                <a:t>Energy</a:t>
              </a:r>
            </a:p>
            <a:p>
              <a:pPr algn="ctr" defTabSz="685757">
                <a:buClr>
                  <a:srgbClr val="0F2B4B"/>
                </a:buClr>
              </a:pPr>
              <a:r>
                <a:rPr lang="en-US" sz="675" dirty="0">
                  <a:solidFill>
                    <a:srgbClr val="0F2B4B"/>
                  </a:solidFill>
                  <a:latin typeface="Calibri Light"/>
                </a:rPr>
                <a:t>Ancillary Services</a:t>
              </a:r>
            </a:p>
          </p:txBody>
        </p:sp>
        <p:sp>
          <p:nvSpPr>
            <p:cNvPr id="119" name="TextBox 118"/>
            <p:cNvSpPr txBox="1"/>
            <p:nvPr/>
          </p:nvSpPr>
          <p:spPr>
            <a:xfrm>
              <a:off x="6889320" y="2747243"/>
              <a:ext cx="1274254" cy="564645"/>
            </a:xfrm>
            <a:prstGeom prst="rect">
              <a:avLst/>
            </a:prstGeom>
            <a:noFill/>
          </p:spPr>
          <p:txBody>
            <a:bodyPr wrap="square" lIns="0" tIns="0" rIns="0" bIns="0" rtlCol="0">
              <a:spAutoFit/>
            </a:bodyPr>
            <a:lstStyle/>
            <a:p>
              <a:pPr algn="ctr" defTabSz="685757">
                <a:buClr>
                  <a:srgbClr val="0F2B4B"/>
                </a:buClr>
              </a:pPr>
              <a:r>
                <a:rPr lang="en-US" sz="675" b="1" dirty="0">
                  <a:solidFill>
                    <a:srgbClr val="94AA5E"/>
                  </a:solidFill>
                  <a:latin typeface="Calibri Light"/>
                </a:rPr>
                <a:t>Revenue Streams</a:t>
              </a:r>
            </a:p>
            <a:p>
              <a:pPr algn="ctr" defTabSz="685757">
                <a:buClr>
                  <a:srgbClr val="0F2B4B"/>
                </a:buClr>
              </a:pPr>
              <a:r>
                <a:rPr lang="en-US" sz="675" dirty="0">
                  <a:solidFill>
                    <a:srgbClr val="0F2B4B"/>
                  </a:solidFill>
                  <a:latin typeface="Calibri Light"/>
                </a:rPr>
                <a:t>Base pay </a:t>
              </a:r>
            </a:p>
            <a:p>
              <a:pPr algn="ctr" defTabSz="685757">
                <a:buClr>
                  <a:srgbClr val="0F2B4B"/>
                </a:buClr>
              </a:pPr>
              <a:r>
                <a:rPr lang="en-US" sz="675" dirty="0">
                  <a:solidFill>
                    <a:srgbClr val="0F2B4B"/>
                  </a:solidFill>
                  <a:latin typeface="Calibri Light"/>
                </a:rPr>
                <a:t>Performance pay</a:t>
              </a:r>
            </a:p>
            <a:p>
              <a:pPr algn="ctr" defTabSz="685757">
                <a:buClr>
                  <a:srgbClr val="0F2B4B"/>
                </a:buClr>
              </a:pPr>
              <a:r>
                <a:rPr lang="en-US" sz="675" dirty="0">
                  <a:solidFill>
                    <a:srgbClr val="0F2B4B"/>
                  </a:solidFill>
                  <a:latin typeface="Calibri Light"/>
                </a:rPr>
                <a:t>Performance + base pay</a:t>
              </a:r>
            </a:p>
          </p:txBody>
        </p:sp>
        <p:cxnSp>
          <p:nvCxnSpPr>
            <p:cNvPr id="120" name="Connector: Elbow 119"/>
            <p:cNvCxnSpPr>
              <a:stCxn id="126" idx="1"/>
              <a:endCxn id="105" idx="1"/>
            </p:cNvCxnSpPr>
            <p:nvPr/>
          </p:nvCxnSpPr>
          <p:spPr>
            <a:xfrm rot="10800000" flipH="1">
              <a:off x="3580893" y="3390437"/>
              <a:ext cx="1667716" cy="1629442"/>
            </a:xfrm>
            <a:prstGeom prst="bentConnector3">
              <a:avLst>
                <a:gd name="adj1" fmla="val -13971"/>
              </a:avLst>
            </a:prstGeom>
            <a:ln w="635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1" name="Connector: Elbow 120"/>
            <p:cNvCxnSpPr>
              <a:stCxn id="134" idx="3"/>
              <a:endCxn id="105" idx="3"/>
            </p:cNvCxnSpPr>
            <p:nvPr/>
          </p:nvCxnSpPr>
          <p:spPr>
            <a:xfrm flipH="1" flipV="1">
              <a:off x="6897593" y="3390437"/>
              <a:ext cx="1961333" cy="1638689"/>
            </a:xfrm>
            <a:prstGeom prst="bentConnector3">
              <a:avLst>
                <a:gd name="adj1" fmla="val -11879"/>
              </a:avLst>
            </a:prstGeom>
            <a:ln w="635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Connector: Elbow 121"/>
            <p:cNvCxnSpPr/>
            <p:nvPr/>
          </p:nvCxnSpPr>
          <p:spPr>
            <a:xfrm rot="5400000" flipH="1" flipV="1">
              <a:off x="4631909" y="4026949"/>
              <a:ext cx="1075318" cy="832546"/>
            </a:xfrm>
            <a:prstGeom prst="bentConnector3">
              <a:avLst>
                <a:gd name="adj1" fmla="val 396"/>
              </a:avLst>
            </a:prstGeom>
            <a:ln w="63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3" name="Connector: Elbow 122"/>
            <p:cNvCxnSpPr>
              <a:stCxn id="134" idx="1"/>
            </p:cNvCxnSpPr>
            <p:nvPr/>
          </p:nvCxnSpPr>
          <p:spPr>
            <a:xfrm rot="10800000">
              <a:off x="6430529" y="3905564"/>
              <a:ext cx="1029009" cy="1123563"/>
            </a:xfrm>
            <a:prstGeom prst="bentConnector2">
              <a:avLst/>
            </a:prstGeom>
            <a:ln w="63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5" name="Group 124"/>
            <p:cNvGrpSpPr/>
            <p:nvPr/>
          </p:nvGrpSpPr>
          <p:grpSpPr>
            <a:xfrm>
              <a:off x="3580894" y="4430288"/>
              <a:ext cx="1094390" cy="1000401"/>
              <a:chOff x="1903334" y="2181341"/>
              <a:chExt cx="1233354" cy="1113086"/>
            </a:xfrm>
          </p:grpSpPr>
          <p:pic>
            <p:nvPicPr>
              <p:cNvPr id="126" name="Picture 12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903334" y="2380257"/>
                <a:ext cx="1233354" cy="914170"/>
              </a:xfrm>
              <a:prstGeom prst="rect">
                <a:avLst/>
              </a:prstGeom>
            </p:spPr>
          </p:pic>
          <p:sp>
            <p:nvSpPr>
              <p:cNvPr id="127" name="TextBox 126"/>
              <p:cNvSpPr txBox="1"/>
              <p:nvPr/>
            </p:nvSpPr>
            <p:spPr>
              <a:xfrm>
                <a:off x="1981216" y="2181341"/>
                <a:ext cx="971764" cy="209415"/>
              </a:xfrm>
              <a:prstGeom prst="rect">
                <a:avLst/>
              </a:prstGeom>
              <a:solidFill>
                <a:schemeClr val="bg1"/>
              </a:solidFill>
            </p:spPr>
            <p:txBody>
              <a:bodyPr wrap="square" lIns="0" tIns="0" rIns="0" bIns="0" rtlCol="0">
                <a:spAutoFit/>
              </a:bodyPr>
              <a:lstStyle/>
              <a:p>
                <a:pPr algn="ctr" defTabSz="685757">
                  <a:buClr>
                    <a:srgbClr val="0F2B4B"/>
                  </a:buClr>
                </a:pPr>
                <a:r>
                  <a:rPr lang="en-US" sz="900" b="1" dirty="0">
                    <a:solidFill>
                      <a:srgbClr val="0F2B4B"/>
                    </a:solidFill>
                    <a:latin typeface="Calibri Light"/>
                  </a:rPr>
                  <a:t>ISO/RTO</a:t>
                </a:r>
              </a:p>
            </p:txBody>
          </p:sp>
        </p:grpSp>
        <p:grpSp>
          <p:nvGrpSpPr>
            <p:cNvPr id="128" name="Group 127"/>
            <p:cNvGrpSpPr/>
            <p:nvPr/>
          </p:nvGrpSpPr>
          <p:grpSpPr>
            <a:xfrm>
              <a:off x="5467783" y="2114577"/>
              <a:ext cx="1150726" cy="828047"/>
              <a:chOff x="629935" y="3774821"/>
              <a:chExt cx="1150726" cy="828047"/>
            </a:xfrm>
          </p:grpSpPr>
          <p:pic>
            <p:nvPicPr>
              <p:cNvPr id="129" name="Picture 12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69064" y="3933094"/>
                <a:ext cx="672467" cy="669774"/>
              </a:xfrm>
              <a:prstGeom prst="rect">
                <a:avLst/>
              </a:prstGeom>
            </p:spPr>
          </p:pic>
          <p:sp>
            <p:nvSpPr>
              <p:cNvPr id="130" name="TextBox 129"/>
              <p:cNvSpPr txBox="1"/>
              <p:nvPr/>
            </p:nvSpPr>
            <p:spPr>
              <a:xfrm>
                <a:off x="629935" y="3774821"/>
                <a:ext cx="1150726" cy="188215"/>
              </a:xfrm>
              <a:prstGeom prst="rect">
                <a:avLst/>
              </a:prstGeom>
              <a:noFill/>
            </p:spPr>
            <p:txBody>
              <a:bodyPr wrap="square" lIns="0" tIns="0" rIns="0" bIns="0" rtlCol="0">
                <a:spAutoFit/>
              </a:bodyPr>
              <a:lstStyle/>
              <a:p>
                <a:pPr algn="ctr" defTabSz="685757">
                  <a:buClr>
                    <a:srgbClr val="0F2B4B"/>
                  </a:buClr>
                </a:pPr>
                <a:r>
                  <a:rPr lang="en-US" sz="900" b="1" dirty="0">
                    <a:ln w="0"/>
                    <a:solidFill>
                      <a:srgbClr val="0F2B4B"/>
                    </a:solidFill>
                    <a:latin typeface="Calibri Light"/>
                  </a:rPr>
                  <a:t>Aggregator</a:t>
                </a:r>
              </a:p>
            </p:txBody>
          </p:sp>
        </p:grpSp>
        <p:grpSp>
          <p:nvGrpSpPr>
            <p:cNvPr id="133" name="Group 132"/>
            <p:cNvGrpSpPr/>
            <p:nvPr/>
          </p:nvGrpSpPr>
          <p:grpSpPr>
            <a:xfrm>
              <a:off x="7449527" y="4428150"/>
              <a:ext cx="1409399" cy="1021036"/>
              <a:chOff x="4740329" y="4428150"/>
              <a:chExt cx="1409399" cy="1021036"/>
            </a:xfrm>
          </p:grpSpPr>
          <p:pic>
            <p:nvPicPr>
              <p:cNvPr id="134" name="Picture 133"/>
              <p:cNvPicPr>
                <a:picLocks noChangeAspect="1"/>
              </p:cNvPicPr>
              <p:nvPr/>
            </p:nvPicPr>
            <p:blipFill rotWithShape="1">
              <a:blip r:embed="rId15" cstate="print">
                <a:extLst>
                  <a:ext uri="{28A0092B-C50C-407E-A947-70E740481C1C}">
                    <a14:useLocalDpi xmlns:a14="http://schemas.microsoft.com/office/drawing/2010/main" val="0"/>
                  </a:ext>
                </a:extLst>
              </a:blip>
              <a:srcRect l="5231" t="17291" r="38522" b="36406"/>
              <a:stretch/>
            </p:blipFill>
            <p:spPr>
              <a:xfrm>
                <a:off x="4750339" y="4609066"/>
                <a:ext cx="1399389" cy="840120"/>
              </a:xfrm>
              <a:prstGeom prst="rect">
                <a:avLst/>
              </a:prstGeom>
            </p:spPr>
          </p:pic>
          <p:sp>
            <p:nvSpPr>
              <p:cNvPr id="135" name="TextBox 134"/>
              <p:cNvSpPr txBox="1"/>
              <p:nvPr/>
            </p:nvSpPr>
            <p:spPr>
              <a:xfrm>
                <a:off x="4740329" y="4428150"/>
                <a:ext cx="1150726" cy="188215"/>
              </a:xfrm>
              <a:prstGeom prst="rect">
                <a:avLst/>
              </a:prstGeom>
              <a:noFill/>
            </p:spPr>
            <p:txBody>
              <a:bodyPr wrap="square" lIns="0" tIns="0" rIns="0" bIns="0" rtlCol="0">
                <a:spAutoFit/>
              </a:bodyPr>
              <a:lstStyle/>
              <a:p>
                <a:pPr algn="ctr" defTabSz="685757">
                  <a:buClr>
                    <a:srgbClr val="0F2B4B"/>
                  </a:buClr>
                </a:pPr>
                <a:r>
                  <a:rPr lang="en-US" sz="900" b="1" dirty="0">
                    <a:ln w="0"/>
                    <a:solidFill>
                      <a:srgbClr val="0F2B4B"/>
                    </a:solidFill>
                    <a:latin typeface="Calibri Light"/>
                  </a:rPr>
                  <a:t>Load Resource</a:t>
                </a:r>
              </a:p>
            </p:txBody>
          </p:sp>
        </p:grpSp>
      </p:grpSp>
      <p:grpSp>
        <p:nvGrpSpPr>
          <p:cNvPr id="136" name="Group 135"/>
          <p:cNvGrpSpPr/>
          <p:nvPr/>
        </p:nvGrpSpPr>
        <p:grpSpPr>
          <a:xfrm>
            <a:off x="332233" y="1638450"/>
            <a:ext cx="4164532" cy="222533"/>
            <a:chOff x="442913" y="1341438"/>
            <a:chExt cx="11306175" cy="296711"/>
          </a:xfrm>
        </p:grpSpPr>
        <p:cxnSp>
          <p:nvCxnSpPr>
            <p:cNvPr id="137" name="Straight Connector 136"/>
            <p:cNvCxnSpPr/>
            <p:nvPr/>
          </p:nvCxnSpPr>
          <p:spPr>
            <a:xfrm>
              <a:off x="442913" y="1632477"/>
              <a:ext cx="11306175" cy="0"/>
            </a:xfrm>
            <a:prstGeom prst="line">
              <a:avLst/>
            </a:prstGeom>
            <a:ln w="127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39" name="TextBox 138"/>
            <p:cNvSpPr txBox="1"/>
            <p:nvPr/>
          </p:nvSpPr>
          <p:spPr>
            <a:xfrm>
              <a:off x="442913" y="1341438"/>
              <a:ext cx="11306175" cy="296711"/>
            </a:xfrm>
            <a:prstGeom prst="rect">
              <a:avLst/>
            </a:prstGeom>
            <a:noFill/>
          </p:spPr>
          <p:txBody>
            <a:bodyPr wrap="square" lIns="0" tIns="0" rIns="0" bIns="0" rtlCol="0" anchor="ctr" anchorCtr="0">
              <a:noAutofit/>
            </a:bodyPr>
            <a:lstStyle/>
            <a:p>
              <a:pPr algn="just" defTabSz="685757">
                <a:buClr>
                  <a:srgbClr val="0F2B4B"/>
                </a:buClr>
              </a:pPr>
              <a:r>
                <a:rPr lang="en-GB" sz="1050" b="1" dirty="0">
                  <a:solidFill>
                    <a:srgbClr val="69A5D6"/>
                  </a:solidFill>
                  <a:latin typeface="Calibri Light"/>
                </a:rPr>
                <a:t>DR Participation in ISO Markets With an Aggregator Facilitating the Process </a:t>
              </a:r>
            </a:p>
          </p:txBody>
        </p:sp>
      </p:grpSp>
      <p:sp>
        <p:nvSpPr>
          <p:cNvPr id="140" name="TextBox 139"/>
          <p:cNvSpPr txBox="1"/>
          <p:nvPr/>
        </p:nvSpPr>
        <p:spPr>
          <a:xfrm>
            <a:off x="332233" y="947477"/>
            <a:ext cx="8478000" cy="276999"/>
          </a:xfrm>
          <a:prstGeom prst="rect">
            <a:avLst/>
          </a:prstGeom>
          <a:noFill/>
        </p:spPr>
        <p:txBody>
          <a:bodyPr wrap="square" lIns="0" tIns="0" rIns="0" bIns="0" rtlCol="0">
            <a:spAutoFit/>
          </a:bodyPr>
          <a:lstStyle/>
          <a:p>
            <a:pPr algn="just" defTabSz="685757">
              <a:lnSpc>
                <a:spcPct val="120000"/>
              </a:lnSpc>
              <a:spcBef>
                <a:spcPts val="450"/>
              </a:spcBef>
              <a:buClr>
                <a:srgbClr val="0F2B4B"/>
              </a:buClr>
            </a:pPr>
            <a:r>
              <a:rPr lang="en-US" sz="750" dirty="0">
                <a:solidFill>
                  <a:srgbClr val="0F2B4B"/>
                </a:solidFill>
                <a:latin typeface="Calibri Light" panose="020F0302020204030204" pitchFamily="34" charset="0"/>
              </a:rPr>
              <a:t>Demand response and DER aggregation has evolved into a tool for planning, operation and control strategies of both utilities and ISOs/RTOs through various price and volume-based measures.  Currently, demand response is developing within the domain of distributed energy resource (DER) management. </a:t>
            </a:r>
            <a:r>
              <a:rPr lang="en-US" sz="750" dirty="0">
                <a:solidFill>
                  <a:srgbClr val="0F2B4B"/>
                </a:solidFill>
                <a:latin typeface="Calibri Light"/>
              </a:rPr>
              <a:t>The expanding deployment of DERs calls for new business and revenue models to provide growth opportunities. </a:t>
            </a:r>
            <a:endParaRPr lang="en-US" sz="750" spc="-15" dirty="0">
              <a:solidFill>
                <a:srgbClr val="0F2B4B"/>
              </a:solidFill>
              <a:latin typeface="Calibri Light"/>
            </a:endParaRPr>
          </a:p>
        </p:txBody>
      </p:sp>
    </p:spTree>
    <p:extLst>
      <p:ext uri="{BB962C8B-B14F-4D97-AF65-F5344CB8AC3E}">
        <p14:creationId xmlns:p14="http://schemas.microsoft.com/office/powerpoint/2010/main" val="27655614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err="1"/>
              <a:t>Dispatchable</a:t>
            </a:r>
            <a:r>
              <a:rPr lang="en-US" dirty="0"/>
              <a:t> DERs Can Provide Value Across All Levels of the Grid</a:t>
            </a:r>
          </a:p>
        </p:txBody>
      </p:sp>
      <p:sp>
        <p:nvSpPr>
          <p:cNvPr id="14" name="Rectangle 13"/>
          <p:cNvSpPr/>
          <p:nvPr/>
        </p:nvSpPr>
        <p:spPr>
          <a:xfrm>
            <a:off x="409874" y="3829856"/>
            <a:ext cx="1440180" cy="342900"/>
          </a:xfrm>
          <a:prstGeom prst="rect">
            <a:avLst/>
          </a:prstGeom>
          <a:solidFill>
            <a:srgbClr val="0F2B4B"/>
          </a:solidFill>
          <a:ln w="25400" cap="flat" cmpd="sng" algn="ctr">
            <a:noFill/>
            <a:prstDash val="solid"/>
          </a:ln>
          <a:effectLst/>
        </p:spPr>
        <p:txBody>
          <a:bodyPr rtlCol="0" anchor="ctr"/>
          <a:lstStyle/>
          <a:p>
            <a:pPr algn="ctr">
              <a:defRPr/>
            </a:pPr>
            <a:r>
              <a:rPr lang="en-US" sz="750" kern="0" dirty="0">
                <a:solidFill>
                  <a:sysClr val="window" lastClr="FFFFFF"/>
                </a:solidFill>
                <a:latin typeface="Arial"/>
              </a:rPr>
              <a:t>ENERGY CHARGES</a:t>
            </a:r>
          </a:p>
        </p:txBody>
      </p:sp>
      <p:sp>
        <p:nvSpPr>
          <p:cNvPr id="15" name="Rectangle 14"/>
          <p:cNvSpPr/>
          <p:nvPr/>
        </p:nvSpPr>
        <p:spPr>
          <a:xfrm>
            <a:off x="409874" y="2458256"/>
            <a:ext cx="1440180" cy="342900"/>
          </a:xfrm>
          <a:prstGeom prst="rect">
            <a:avLst/>
          </a:prstGeom>
          <a:solidFill>
            <a:srgbClr val="69A5D6"/>
          </a:solidFill>
          <a:ln w="25400" cap="flat" cmpd="sng" algn="ctr">
            <a:noFill/>
            <a:prstDash val="solid"/>
          </a:ln>
          <a:effectLst/>
        </p:spPr>
        <p:txBody>
          <a:bodyPr rtlCol="0" anchor="ctr"/>
          <a:lstStyle/>
          <a:p>
            <a:pPr algn="ctr">
              <a:defRPr/>
            </a:pPr>
            <a:r>
              <a:rPr lang="en-US" sz="750" kern="0" dirty="0">
                <a:solidFill>
                  <a:prstClr val="white"/>
                </a:solidFill>
                <a:latin typeface="Arial"/>
              </a:rPr>
              <a:t>POWER QUALITY</a:t>
            </a:r>
          </a:p>
        </p:txBody>
      </p:sp>
      <p:sp>
        <p:nvSpPr>
          <p:cNvPr id="16" name="Rectangle 15"/>
          <p:cNvSpPr/>
          <p:nvPr/>
        </p:nvSpPr>
        <p:spPr>
          <a:xfrm>
            <a:off x="409874" y="2116742"/>
            <a:ext cx="709155" cy="342900"/>
          </a:xfrm>
          <a:prstGeom prst="rect">
            <a:avLst/>
          </a:prstGeom>
          <a:solidFill>
            <a:srgbClr val="B2CC6D"/>
          </a:solidFill>
          <a:ln w="25400" cap="flat" cmpd="sng" algn="ctr">
            <a:noFill/>
            <a:prstDash val="solid"/>
          </a:ln>
          <a:effectLst/>
        </p:spPr>
        <p:txBody>
          <a:bodyPr rtlCol="0" anchor="ctr"/>
          <a:lstStyle/>
          <a:p>
            <a:pPr algn="ctr">
              <a:defRPr/>
            </a:pPr>
            <a:r>
              <a:rPr lang="en-US" sz="750" kern="0" dirty="0">
                <a:solidFill>
                  <a:srgbClr val="FFFFFF"/>
                </a:solidFill>
                <a:latin typeface="Arial"/>
              </a:rPr>
              <a:t>UTILITY PROGRAMS</a:t>
            </a:r>
          </a:p>
        </p:txBody>
      </p:sp>
      <p:sp>
        <p:nvSpPr>
          <p:cNvPr id="17" name="Rectangle 16"/>
          <p:cNvSpPr/>
          <p:nvPr/>
        </p:nvSpPr>
        <p:spPr>
          <a:xfrm>
            <a:off x="409874" y="2801156"/>
            <a:ext cx="1440180" cy="342900"/>
          </a:xfrm>
          <a:prstGeom prst="rect">
            <a:avLst/>
          </a:prstGeom>
          <a:solidFill>
            <a:srgbClr val="0C56A6"/>
          </a:solidFill>
          <a:ln w="25400" cap="flat" cmpd="sng" algn="ctr">
            <a:noFill/>
            <a:prstDash val="solid"/>
          </a:ln>
          <a:effectLst/>
        </p:spPr>
        <p:txBody>
          <a:bodyPr rtlCol="0" anchor="ctr"/>
          <a:lstStyle/>
          <a:p>
            <a:pPr algn="ctr">
              <a:defRPr/>
            </a:pPr>
            <a:r>
              <a:rPr lang="en-US" sz="750" kern="0" dirty="0">
                <a:solidFill>
                  <a:prstClr val="white"/>
                </a:solidFill>
                <a:latin typeface="Arial"/>
              </a:rPr>
              <a:t>RELIABILITY / RESILIENCY</a:t>
            </a:r>
          </a:p>
        </p:txBody>
      </p:sp>
      <p:sp>
        <p:nvSpPr>
          <p:cNvPr id="18" name="Rectangle 17"/>
          <p:cNvSpPr/>
          <p:nvPr/>
        </p:nvSpPr>
        <p:spPr>
          <a:xfrm>
            <a:off x="409874" y="3486956"/>
            <a:ext cx="1440180" cy="342900"/>
          </a:xfrm>
          <a:prstGeom prst="rect">
            <a:avLst/>
          </a:prstGeom>
          <a:solidFill>
            <a:srgbClr val="8CA3B5"/>
          </a:solidFill>
          <a:ln w="25400" cap="flat" cmpd="sng" algn="ctr">
            <a:noFill/>
            <a:prstDash val="solid"/>
          </a:ln>
          <a:effectLst/>
        </p:spPr>
        <p:txBody>
          <a:bodyPr rtlCol="0" anchor="ctr"/>
          <a:lstStyle/>
          <a:p>
            <a:pPr algn="ctr">
              <a:defRPr/>
            </a:pPr>
            <a:r>
              <a:rPr lang="en-US" sz="750" kern="0" dirty="0">
                <a:solidFill>
                  <a:prstClr val="white"/>
                </a:solidFill>
                <a:latin typeface="Arial"/>
              </a:rPr>
              <a:t>DEMAND CHARGES</a:t>
            </a:r>
          </a:p>
        </p:txBody>
      </p:sp>
      <p:sp>
        <p:nvSpPr>
          <p:cNvPr id="19" name="Rectangle 18"/>
          <p:cNvSpPr/>
          <p:nvPr/>
        </p:nvSpPr>
        <p:spPr>
          <a:xfrm>
            <a:off x="1119030" y="1782636"/>
            <a:ext cx="731024" cy="674791"/>
          </a:xfrm>
          <a:prstGeom prst="rect">
            <a:avLst/>
          </a:prstGeom>
          <a:solidFill>
            <a:srgbClr val="DBA880"/>
          </a:solidFill>
          <a:ln w="25400" cap="flat" cmpd="sng" algn="ctr">
            <a:noFill/>
            <a:prstDash val="solid"/>
          </a:ln>
          <a:effectLst/>
        </p:spPr>
        <p:txBody>
          <a:bodyPr rtlCol="0" anchor="ctr"/>
          <a:lstStyle/>
          <a:p>
            <a:pPr algn="ctr">
              <a:defRPr/>
            </a:pPr>
            <a:r>
              <a:rPr lang="en-US" sz="750" kern="0" dirty="0">
                <a:solidFill>
                  <a:srgbClr val="FFFFFF"/>
                </a:solidFill>
                <a:latin typeface="Arial"/>
              </a:rPr>
              <a:t>3</a:t>
            </a:r>
            <a:r>
              <a:rPr lang="en-US" sz="750" kern="0" baseline="30000" dirty="0">
                <a:solidFill>
                  <a:srgbClr val="FFFFFF"/>
                </a:solidFill>
                <a:latin typeface="Arial"/>
              </a:rPr>
              <a:t>rd</a:t>
            </a:r>
            <a:r>
              <a:rPr lang="en-US" sz="750" kern="0" dirty="0">
                <a:solidFill>
                  <a:srgbClr val="FFFFFF"/>
                </a:solidFill>
                <a:latin typeface="Arial"/>
              </a:rPr>
              <a:t> PARTY PROGRAMS</a:t>
            </a:r>
          </a:p>
        </p:txBody>
      </p:sp>
      <p:sp>
        <p:nvSpPr>
          <p:cNvPr id="21" name="Rectangle 20"/>
          <p:cNvSpPr/>
          <p:nvPr/>
        </p:nvSpPr>
        <p:spPr>
          <a:xfrm>
            <a:off x="409874" y="3144056"/>
            <a:ext cx="1440180" cy="342900"/>
          </a:xfrm>
          <a:prstGeom prst="rect">
            <a:avLst/>
          </a:prstGeom>
          <a:solidFill>
            <a:srgbClr val="748597"/>
          </a:solidFill>
          <a:ln w="25400" cap="flat" cmpd="sng" algn="ctr">
            <a:noFill/>
            <a:prstDash val="solid"/>
          </a:ln>
          <a:effectLst/>
        </p:spPr>
        <p:txBody>
          <a:bodyPr rtlCol="0" anchor="ctr"/>
          <a:lstStyle/>
          <a:p>
            <a:pPr algn="ctr">
              <a:defRPr/>
            </a:pPr>
            <a:r>
              <a:rPr lang="en-US" sz="750" kern="0" dirty="0">
                <a:solidFill>
                  <a:prstClr val="white"/>
                </a:solidFill>
                <a:latin typeface="Arial"/>
              </a:rPr>
              <a:t>SYSTEM PEAK CHARGES</a:t>
            </a:r>
          </a:p>
        </p:txBody>
      </p:sp>
      <p:sp>
        <p:nvSpPr>
          <p:cNvPr id="28" name="Rectangle 27"/>
          <p:cNvSpPr/>
          <p:nvPr/>
        </p:nvSpPr>
        <p:spPr>
          <a:xfrm>
            <a:off x="409874" y="1782644"/>
            <a:ext cx="709155" cy="342900"/>
          </a:xfrm>
          <a:prstGeom prst="rect">
            <a:avLst/>
          </a:prstGeom>
          <a:solidFill>
            <a:srgbClr val="94AA5E"/>
          </a:solidFill>
          <a:ln w="25400" cap="flat" cmpd="sng" algn="ctr">
            <a:noFill/>
            <a:prstDash val="solid"/>
          </a:ln>
          <a:effectLst/>
        </p:spPr>
        <p:txBody>
          <a:bodyPr rtlCol="0" anchor="ctr"/>
          <a:lstStyle/>
          <a:p>
            <a:pPr algn="ctr">
              <a:defRPr/>
            </a:pPr>
            <a:r>
              <a:rPr lang="en-US" sz="750" kern="0" dirty="0">
                <a:solidFill>
                  <a:srgbClr val="FFFFFF"/>
                </a:solidFill>
                <a:latin typeface="Arial"/>
              </a:rPr>
              <a:t>ISO/RTO PROGRAMS</a:t>
            </a:r>
          </a:p>
        </p:txBody>
      </p:sp>
      <p:sp>
        <p:nvSpPr>
          <p:cNvPr id="31" name="TextBox 30"/>
          <p:cNvSpPr txBox="1"/>
          <p:nvPr/>
        </p:nvSpPr>
        <p:spPr>
          <a:xfrm>
            <a:off x="332100" y="4172166"/>
            <a:ext cx="1595727" cy="248209"/>
          </a:xfrm>
          <a:prstGeom prst="rect">
            <a:avLst/>
          </a:prstGeom>
          <a:noFill/>
        </p:spPr>
        <p:txBody>
          <a:bodyPr wrap="square" rtlCol="0">
            <a:spAutoFit/>
          </a:bodyPr>
          <a:lstStyle/>
          <a:p>
            <a:pPr algn="ctr" defTabSz="764118"/>
            <a:r>
              <a:rPr lang="en-US" sz="1013" b="1" kern="0" dirty="0">
                <a:latin typeface="Calibri" panose="020F0502020204030204" pitchFamily="34" charset="0"/>
                <a:cs typeface="Arial"/>
              </a:rPr>
              <a:t>Customer Value Streams</a:t>
            </a:r>
          </a:p>
        </p:txBody>
      </p:sp>
      <p:sp>
        <p:nvSpPr>
          <p:cNvPr id="47" name="TextBox 46"/>
          <p:cNvSpPr txBox="1"/>
          <p:nvPr/>
        </p:nvSpPr>
        <p:spPr>
          <a:xfrm>
            <a:off x="2139835" y="4172166"/>
            <a:ext cx="1629467" cy="248209"/>
          </a:xfrm>
          <a:prstGeom prst="rect">
            <a:avLst/>
          </a:prstGeom>
          <a:noFill/>
        </p:spPr>
        <p:txBody>
          <a:bodyPr wrap="square" rtlCol="0">
            <a:spAutoFit/>
          </a:bodyPr>
          <a:lstStyle/>
          <a:p>
            <a:pPr algn="ctr" defTabSz="764118"/>
            <a:r>
              <a:rPr lang="en-US" sz="1013" b="1" kern="0" dirty="0">
                <a:latin typeface="Calibri" panose="020F0502020204030204" pitchFamily="34" charset="0"/>
                <a:cs typeface="Arial"/>
              </a:rPr>
              <a:t>Distribution Value Streams</a:t>
            </a:r>
          </a:p>
        </p:txBody>
      </p:sp>
      <p:sp>
        <p:nvSpPr>
          <p:cNvPr id="25" name="Rectangle 24"/>
          <p:cNvSpPr/>
          <p:nvPr/>
        </p:nvSpPr>
        <p:spPr>
          <a:xfrm>
            <a:off x="2242997" y="3829856"/>
            <a:ext cx="1440180" cy="342900"/>
          </a:xfrm>
          <a:prstGeom prst="rect">
            <a:avLst/>
          </a:prstGeom>
          <a:solidFill>
            <a:srgbClr val="0F2B4B"/>
          </a:solidFill>
          <a:ln w="25400" cap="flat" cmpd="sng" algn="ctr">
            <a:noFill/>
            <a:prstDash val="solid"/>
          </a:ln>
          <a:effectLst/>
        </p:spPr>
        <p:txBody>
          <a:bodyPr rtlCol="0" anchor="ctr"/>
          <a:lstStyle/>
          <a:p>
            <a:pPr algn="ctr">
              <a:defRPr/>
            </a:pPr>
            <a:r>
              <a:rPr lang="en-US" sz="750" kern="0" dirty="0">
                <a:solidFill>
                  <a:sysClr val="window" lastClr="FFFFFF"/>
                </a:solidFill>
                <a:latin typeface="Arial"/>
              </a:rPr>
              <a:t>CAPACITY / RA</a:t>
            </a:r>
            <a:endParaRPr lang="en-US" sz="750" kern="0" dirty="0">
              <a:solidFill>
                <a:prstClr val="white"/>
              </a:solidFill>
              <a:latin typeface="Arial"/>
            </a:endParaRPr>
          </a:p>
        </p:txBody>
      </p:sp>
      <p:sp>
        <p:nvSpPr>
          <p:cNvPr id="29" name="Rectangle 28"/>
          <p:cNvSpPr/>
          <p:nvPr/>
        </p:nvSpPr>
        <p:spPr>
          <a:xfrm>
            <a:off x="2242997" y="3486956"/>
            <a:ext cx="1440180" cy="342900"/>
          </a:xfrm>
          <a:prstGeom prst="rect">
            <a:avLst/>
          </a:prstGeom>
          <a:solidFill>
            <a:srgbClr val="8CA3B5"/>
          </a:solidFill>
          <a:ln w="25400" cap="flat" cmpd="sng" algn="ctr">
            <a:noFill/>
            <a:prstDash val="solid"/>
          </a:ln>
          <a:effectLst/>
        </p:spPr>
        <p:txBody>
          <a:bodyPr rtlCol="0" anchor="ctr"/>
          <a:lstStyle/>
          <a:p>
            <a:pPr algn="ctr">
              <a:defRPr/>
            </a:pPr>
            <a:r>
              <a:rPr lang="en-US" sz="750" kern="0" dirty="0">
                <a:solidFill>
                  <a:sysClr val="window" lastClr="FFFFFF"/>
                </a:solidFill>
                <a:latin typeface="Arial"/>
              </a:rPr>
              <a:t>T&amp;D DEFERRAL</a:t>
            </a:r>
          </a:p>
        </p:txBody>
      </p:sp>
      <p:sp>
        <p:nvSpPr>
          <p:cNvPr id="30" name="Rectangle 29"/>
          <p:cNvSpPr/>
          <p:nvPr/>
        </p:nvSpPr>
        <p:spPr>
          <a:xfrm>
            <a:off x="2242997" y="3144056"/>
            <a:ext cx="1440180" cy="342900"/>
          </a:xfrm>
          <a:prstGeom prst="rect">
            <a:avLst/>
          </a:prstGeom>
          <a:solidFill>
            <a:srgbClr val="748597"/>
          </a:solidFill>
          <a:ln w="25400" cap="flat" cmpd="sng" algn="ctr">
            <a:noFill/>
            <a:prstDash val="solid"/>
          </a:ln>
          <a:effectLst/>
        </p:spPr>
        <p:txBody>
          <a:bodyPr rtlCol="0" anchor="ctr"/>
          <a:lstStyle/>
          <a:p>
            <a:pPr algn="ctr">
              <a:defRPr/>
            </a:pPr>
            <a:r>
              <a:rPr lang="en-US" sz="750" kern="0" dirty="0">
                <a:solidFill>
                  <a:sysClr val="window" lastClr="FFFFFF"/>
                </a:solidFill>
                <a:latin typeface="Arial"/>
              </a:rPr>
              <a:t>LOADING / RELIABILITY</a:t>
            </a:r>
          </a:p>
        </p:txBody>
      </p:sp>
      <p:sp>
        <p:nvSpPr>
          <p:cNvPr id="32" name="Rectangle 31"/>
          <p:cNvSpPr/>
          <p:nvPr/>
        </p:nvSpPr>
        <p:spPr>
          <a:xfrm>
            <a:off x="4076123" y="3829266"/>
            <a:ext cx="1440180" cy="342900"/>
          </a:xfrm>
          <a:prstGeom prst="rect">
            <a:avLst/>
          </a:prstGeom>
          <a:solidFill>
            <a:srgbClr val="0F2B4B"/>
          </a:solidFill>
          <a:ln w="25400" cap="flat" cmpd="sng" algn="ctr">
            <a:noFill/>
            <a:prstDash val="solid"/>
          </a:ln>
          <a:effectLst/>
        </p:spPr>
        <p:txBody>
          <a:bodyPr rtlCol="0" anchor="ctr"/>
          <a:lstStyle/>
          <a:p>
            <a:pPr algn="ctr">
              <a:defRPr/>
            </a:pPr>
            <a:r>
              <a:rPr lang="en-US" sz="750" kern="0" dirty="0">
                <a:solidFill>
                  <a:sysClr val="window" lastClr="FFFFFF"/>
                </a:solidFill>
                <a:latin typeface="Arial"/>
              </a:rPr>
              <a:t>CAPACITY</a:t>
            </a:r>
          </a:p>
        </p:txBody>
      </p:sp>
      <p:sp>
        <p:nvSpPr>
          <p:cNvPr id="33" name="Rectangle 32"/>
          <p:cNvSpPr/>
          <p:nvPr/>
        </p:nvSpPr>
        <p:spPr>
          <a:xfrm>
            <a:off x="4076122" y="2457666"/>
            <a:ext cx="1440180" cy="342900"/>
          </a:xfrm>
          <a:prstGeom prst="rect">
            <a:avLst/>
          </a:prstGeom>
          <a:solidFill>
            <a:srgbClr val="69A5D6"/>
          </a:solidFill>
          <a:ln w="25400" cap="flat" cmpd="sng" algn="ctr">
            <a:noFill/>
            <a:prstDash val="solid"/>
          </a:ln>
          <a:effectLst/>
        </p:spPr>
        <p:txBody>
          <a:bodyPr rtlCol="0" anchor="ctr"/>
          <a:lstStyle/>
          <a:p>
            <a:pPr algn="ctr">
              <a:defRPr/>
            </a:pPr>
            <a:r>
              <a:rPr lang="en-US" sz="750" kern="0" dirty="0">
                <a:solidFill>
                  <a:prstClr val="white"/>
                </a:solidFill>
                <a:latin typeface="Arial"/>
              </a:rPr>
              <a:t>VOLTAGE SUPPORT</a:t>
            </a:r>
          </a:p>
        </p:txBody>
      </p:sp>
      <p:sp>
        <p:nvSpPr>
          <p:cNvPr id="34" name="Rectangle 33"/>
          <p:cNvSpPr/>
          <p:nvPr/>
        </p:nvSpPr>
        <p:spPr>
          <a:xfrm>
            <a:off x="4076123" y="2800566"/>
            <a:ext cx="1440180" cy="342900"/>
          </a:xfrm>
          <a:prstGeom prst="rect">
            <a:avLst/>
          </a:prstGeom>
          <a:solidFill>
            <a:srgbClr val="0C56A6"/>
          </a:solidFill>
          <a:ln w="25400" cap="flat" cmpd="sng" algn="ctr">
            <a:noFill/>
            <a:prstDash val="solid"/>
          </a:ln>
          <a:effectLst/>
        </p:spPr>
        <p:txBody>
          <a:bodyPr rtlCol="0" anchor="ctr"/>
          <a:lstStyle/>
          <a:p>
            <a:pPr algn="ctr">
              <a:defRPr/>
            </a:pPr>
            <a:r>
              <a:rPr lang="en-US" sz="750" kern="0" dirty="0">
                <a:solidFill>
                  <a:prstClr val="white"/>
                </a:solidFill>
                <a:latin typeface="Arial"/>
              </a:rPr>
              <a:t>FREQUENCY REGULATION</a:t>
            </a:r>
          </a:p>
        </p:txBody>
      </p:sp>
      <p:sp>
        <p:nvSpPr>
          <p:cNvPr id="35" name="Rectangle 34"/>
          <p:cNvSpPr/>
          <p:nvPr/>
        </p:nvSpPr>
        <p:spPr>
          <a:xfrm>
            <a:off x="4076123" y="3486366"/>
            <a:ext cx="1440180" cy="342900"/>
          </a:xfrm>
          <a:prstGeom prst="rect">
            <a:avLst/>
          </a:prstGeom>
          <a:solidFill>
            <a:srgbClr val="8CA3B5"/>
          </a:solidFill>
          <a:ln w="25400" cap="flat" cmpd="sng" algn="ctr">
            <a:noFill/>
            <a:prstDash val="solid"/>
          </a:ln>
          <a:effectLst/>
        </p:spPr>
        <p:txBody>
          <a:bodyPr rtlCol="0" anchor="ctr"/>
          <a:lstStyle/>
          <a:p>
            <a:pPr algn="ctr">
              <a:defRPr/>
            </a:pPr>
            <a:r>
              <a:rPr lang="en-US" sz="750" kern="0" dirty="0">
                <a:solidFill>
                  <a:prstClr val="white"/>
                </a:solidFill>
                <a:latin typeface="Arial"/>
              </a:rPr>
              <a:t>ENERGY</a:t>
            </a:r>
          </a:p>
        </p:txBody>
      </p:sp>
      <p:sp>
        <p:nvSpPr>
          <p:cNvPr id="36" name="Rectangle 35"/>
          <p:cNvSpPr/>
          <p:nvPr/>
        </p:nvSpPr>
        <p:spPr>
          <a:xfrm>
            <a:off x="4076123" y="3143466"/>
            <a:ext cx="1440180" cy="342900"/>
          </a:xfrm>
          <a:prstGeom prst="rect">
            <a:avLst/>
          </a:prstGeom>
          <a:solidFill>
            <a:srgbClr val="748597"/>
          </a:solidFill>
          <a:ln w="25400" cap="flat" cmpd="sng" algn="ctr">
            <a:noFill/>
            <a:prstDash val="solid"/>
          </a:ln>
          <a:effectLst/>
        </p:spPr>
        <p:txBody>
          <a:bodyPr rtlCol="0" anchor="ctr"/>
          <a:lstStyle/>
          <a:p>
            <a:pPr algn="ctr">
              <a:defRPr/>
            </a:pPr>
            <a:r>
              <a:rPr lang="en-US" sz="750" kern="0" dirty="0">
                <a:solidFill>
                  <a:prstClr val="white"/>
                </a:solidFill>
                <a:latin typeface="Arial"/>
              </a:rPr>
              <a:t>SPIN / NON-SPIN RESERVES</a:t>
            </a:r>
          </a:p>
        </p:txBody>
      </p:sp>
      <p:sp>
        <p:nvSpPr>
          <p:cNvPr id="37" name="TextBox 36"/>
          <p:cNvSpPr txBox="1"/>
          <p:nvPr/>
        </p:nvSpPr>
        <p:spPr>
          <a:xfrm>
            <a:off x="3981478" y="4172166"/>
            <a:ext cx="1629467" cy="248209"/>
          </a:xfrm>
          <a:prstGeom prst="rect">
            <a:avLst/>
          </a:prstGeom>
          <a:noFill/>
        </p:spPr>
        <p:txBody>
          <a:bodyPr wrap="square" rtlCol="0">
            <a:spAutoFit/>
          </a:bodyPr>
          <a:lstStyle/>
          <a:p>
            <a:pPr algn="ctr" defTabSz="764118"/>
            <a:r>
              <a:rPr lang="en-US" sz="1013" b="1" kern="0" dirty="0">
                <a:latin typeface="Calibri" panose="020F0502020204030204" pitchFamily="34" charset="0"/>
                <a:cs typeface="Arial"/>
              </a:rPr>
              <a:t>System Value Streams</a:t>
            </a:r>
          </a:p>
        </p:txBody>
      </p:sp>
      <p:sp>
        <p:nvSpPr>
          <p:cNvPr id="48" name="Rectangle 47"/>
          <p:cNvSpPr/>
          <p:nvPr/>
        </p:nvSpPr>
        <p:spPr>
          <a:xfrm>
            <a:off x="4076121" y="2121854"/>
            <a:ext cx="1440181" cy="342900"/>
          </a:xfrm>
          <a:prstGeom prst="rect">
            <a:avLst/>
          </a:prstGeom>
          <a:solidFill>
            <a:srgbClr val="B2CC6D"/>
          </a:solidFill>
          <a:ln w="25400" cap="flat" cmpd="sng" algn="ctr">
            <a:noFill/>
            <a:prstDash val="solid"/>
          </a:ln>
          <a:effectLst/>
        </p:spPr>
        <p:txBody>
          <a:bodyPr rtlCol="0" anchor="ctr"/>
          <a:lstStyle/>
          <a:p>
            <a:pPr algn="ctr">
              <a:defRPr/>
            </a:pPr>
            <a:r>
              <a:rPr lang="en-US" sz="750" kern="0" dirty="0">
                <a:solidFill>
                  <a:srgbClr val="FFFFFF"/>
                </a:solidFill>
                <a:latin typeface="Arial"/>
              </a:rPr>
              <a:t>BLACKSTART</a:t>
            </a:r>
          </a:p>
        </p:txBody>
      </p:sp>
      <p:sp>
        <p:nvSpPr>
          <p:cNvPr id="38" name="Content Placeholder 1"/>
          <p:cNvSpPr>
            <a:spLocks noGrp="1"/>
          </p:cNvSpPr>
          <p:nvPr>
            <p:ph sz="quarter" idx="13"/>
          </p:nvPr>
        </p:nvSpPr>
        <p:spPr>
          <a:xfrm>
            <a:off x="332100" y="953262"/>
            <a:ext cx="8477964" cy="487860"/>
          </a:xfrm>
        </p:spPr>
        <p:txBody>
          <a:bodyPr/>
          <a:lstStyle/>
          <a:p>
            <a:pPr lvl="2"/>
            <a:r>
              <a:rPr lang="en-US" sz="900" dirty="0">
                <a:latin typeface="Calibri Light" panose="020F0302020204030204" pitchFamily="34" charset="0"/>
              </a:rPr>
              <a:t>Distributed energy resources (DERs) including fuel-based distributed generation, solar PV and energy storage can provide a wide range of values at three levels of the grid: the customer level (behind the meter), the distribution level (utility) and the system level (ISOs/RTOs in restructured markets; vertically-integrated utilities in regulated markets). </a:t>
            </a:r>
          </a:p>
        </p:txBody>
      </p:sp>
      <p:sp>
        <p:nvSpPr>
          <p:cNvPr id="39" name="Rectangle 38"/>
          <p:cNvSpPr/>
          <p:nvPr/>
        </p:nvSpPr>
        <p:spPr>
          <a:xfrm>
            <a:off x="409873" y="4434375"/>
            <a:ext cx="5106428" cy="207749"/>
          </a:xfrm>
          <a:prstGeom prst="rect">
            <a:avLst/>
          </a:prstGeom>
        </p:spPr>
        <p:txBody>
          <a:bodyPr wrap="square">
            <a:spAutoFit/>
          </a:bodyPr>
          <a:lstStyle/>
          <a:p>
            <a:r>
              <a:rPr lang="en-US" sz="750" kern="0" spc="-8" dirty="0"/>
              <a:t>Note: Value streams may not be readily accessible due to regulations and traditional business processes.</a:t>
            </a:r>
          </a:p>
        </p:txBody>
      </p:sp>
      <p:sp>
        <p:nvSpPr>
          <p:cNvPr id="40" name="Chevron 6"/>
          <p:cNvSpPr/>
          <p:nvPr/>
        </p:nvSpPr>
        <p:spPr>
          <a:xfrm rot="10800000" flipH="1">
            <a:off x="5909244" y="1782636"/>
            <a:ext cx="548640" cy="2385735"/>
          </a:xfrm>
          <a:prstGeom prst="chevron">
            <a:avLst>
              <a:gd name="adj" fmla="val 62171"/>
            </a:avLst>
          </a:prstGeom>
          <a:solidFill>
            <a:schemeClr val="tx1"/>
          </a:solidFill>
          <a:ln w="25400" cap="flat" cmpd="sng" algn="ctr">
            <a:noFill/>
            <a:prstDash val="solid"/>
          </a:ln>
          <a:effectLst/>
        </p:spPr>
        <p:txBody>
          <a:bodyPr rtlCol="0" anchor="ctr"/>
          <a:lstStyle/>
          <a:p>
            <a:pPr algn="ctr" defTabSz="764118">
              <a:defRPr/>
            </a:pPr>
            <a:endParaRPr lang="en-US" sz="1505" kern="0" dirty="0">
              <a:solidFill>
                <a:srgbClr val="9AB470"/>
              </a:solidFill>
              <a:latin typeface="Arial"/>
              <a:cs typeface="Arial"/>
            </a:endParaRPr>
          </a:p>
        </p:txBody>
      </p:sp>
      <p:sp>
        <p:nvSpPr>
          <p:cNvPr id="42" name="Content Placeholder 1"/>
          <p:cNvSpPr txBox="1">
            <a:spLocks/>
          </p:cNvSpPr>
          <p:nvPr/>
        </p:nvSpPr>
        <p:spPr bwMode="gray">
          <a:xfrm>
            <a:off x="6850826" y="1795186"/>
            <a:ext cx="1877319" cy="2408945"/>
          </a:xfrm>
          <a:prstGeom prst="rect">
            <a:avLst/>
          </a:prstGeom>
        </p:spPr>
        <p:txBody>
          <a:bodyPr vert="horz" lIns="0" tIns="0" rIns="0" bIns="0" rtlCol="0">
            <a:noAutofit/>
          </a:bodyPr>
          <a:lstStyle>
            <a:lvl1pPr marL="0" marR="0" indent="0" algn="just" defTabSz="914342" rtl="0" eaLnBrk="1" fontAlgn="auto" latinLnBrk="0" hangingPunct="1">
              <a:lnSpc>
                <a:spcPct val="125000"/>
              </a:lnSpc>
              <a:spcBef>
                <a:spcPts val="1200"/>
              </a:spcBef>
              <a:spcAft>
                <a:spcPts val="1000"/>
              </a:spcAft>
              <a:buClrTx/>
              <a:buSzTx/>
              <a:buFont typeface="Arial" pitchFamily="34" charset="0"/>
              <a:buNone/>
              <a:tabLst/>
              <a:defRPr lang="en-GB" sz="1700" b="1" kern="1200" baseline="0" noProof="0" dirty="0" smtClean="0">
                <a:solidFill>
                  <a:schemeClr val="tx1"/>
                </a:solidFill>
                <a:latin typeface="+mj-lt"/>
                <a:ea typeface="+mn-ea"/>
                <a:cs typeface="+mn-cs"/>
              </a:defRPr>
            </a:lvl1pPr>
            <a:lvl2pPr marL="0" indent="0" algn="just" defTabSz="914342" rtl="0" eaLnBrk="1" latinLnBrk="0" hangingPunct="1">
              <a:lnSpc>
                <a:spcPct val="125000"/>
              </a:lnSpc>
              <a:spcBef>
                <a:spcPts val="1000"/>
              </a:spcBef>
              <a:buFont typeface="Arial" panose="05020102010507070707" pitchFamily="18" charset="2"/>
              <a:buNone/>
              <a:defRPr lang="en-GB" sz="1700" kern="1200" noProof="0" dirty="0" smtClean="0">
                <a:solidFill>
                  <a:schemeClr val="tx1"/>
                </a:solidFill>
                <a:latin typeface="+mn-lt"/>
                <a:ea typeface="+mn-ea"/>
                <a:cs typeface="+mn-cs"/>
              </a:defRPr>
            </a:lvl2pPr>
            <a:lvl3pPr marL="0" indent="0" algn="just" defTabSz="914342" rtl="0" eaLnBrk="1" latinLnBrk="0" hangingPunct="1">
              <a:lnSpc>
                <a:spcPct val="125000"/>
              </a:lnSpc>
              <a:spcBef>
                <a:spcPts val="600"/>
              </a:spcBef>
              <a:buClr>
                <a:schemeClr val="tx1"/>
              </a:buClr>
              <a:buFont typeface="Arial" pitchFamily="34" charset="0"/>
              <a:buNone/>
              <a:defRPr lang="en-GB" sz="1400" kern="1200" noProof="0" dirty="0" smtClean="0">
                <a:solidFill>
                  <a:schemeClr val="tx1"/>
                </a:solidFill>
                <a:latin typeface="+mn-lt"/>
                <a:ea typeface="+mn-ea"/>
                <a:cs typeface="+mn-cs"/>
              </a:defRPr>
            </a:lvl3pPr>
            <a:lvl4pPr marL="180975" indent="-180975" algn="just" defTabSz="914342" rtl="0" eaLnBrk="1" latinLnBrk="0" hangingPunct="1">
              <a:lnSpc>
                <a:spcPct val="125000"/>
              </a:lnSpc>
              <a:spcBef>
                <a:spcPts val="600"/>
              </a:spcBef>
              <a:buClr>
                <a:schemeClr val="tx1"/>
              </a:buClr>
              <a:buFont typeface="Calibri Light" panose="020F0302020204030204" pitchFamily="34" charset="0"/>
              <a:buChar char="•"/>
              <a:defRPr lang="en-GB" sz="1400" kern="1200" noProof="0" dirty="0" smtClean="0">
                <a:solidFill>
                  <a:schemeClr val="tx1"/>
                </a:solidFill>
                <a:latin typeface="+mn-lt"/>
                <a:ea typeface="+mn-ea"/>
                <a:cs typeface="+mn-cs"/>
              </a:defRPr>
            </a:lvl4pPr>
            <a:lvl5pPr marL="361950" indent="-180975" algn="just" defTabSz="914342" rtl="0" eaLnBrk="1" latinLnBrk="0" hangingPunct="1">
              <a:lnSpc>
                <a:spcPct val="125000"/>
              </a:lnSpc>
              <a:spcBef>
                <a:spcPts val="600"/>
              </a:spcBef>
              <a:buClr>
                <a:schemeClr val="tx1"/>
              </a:buClr>
              <a:buSzPct val="120000"/>
              <a:buFont typeface="Calibri Light" panose="020F0302020204030204" pitchFamily="34" charset="0"/>
              <a:buChar char="◦"/>
              <a:defRPr lang="en-GB" sz="1400" kern="1200" noProof="0" dirty="0" smtClean="0">
                <a:solidFill>
                  <a:schemeClr val="tx1"/>
                </a:solidFill>
                <a:latin typeface="+mn-lt"/>
                <a:ea typeface="+mn-ea"/>
                <a:cs typeface="+mn-cs"/>
              </a:defRPr>
            </a:lvl5pPr>
            <a:lvl6pPr marL="542925" indent="-180975" algn="just" defTabSz="914342" rtl="0" eaLnBrk="1" latinLnBrk="0" hangingPunct="1">
              <a:lnSpc>
                <a:spcPct val="125000"/>
              </a:lnSpc>
              <a:spcBef>
                <a:spcPts val="600"/>
              </a:spcBef>
              <a:buClr>
                <a:schemeClr val="tx1"/>
              </a:buClr>
              <a:buFont typeface="Arial" pitchFamily="34" charset="0"/>
              <a:buChar char="–"/>
              <a:defRPr lang="en-GB" sz="1400" kern="1200" noProof="0" dirty="0" smtClean="0">
                <a:solidFill>
                  <a:schemeClr val="tx1"/>
                </a:solidFill>
                <a:latin typeface="+mn-lt"/>
                <a:ea typeface="+mn-ea"/>
                <a:cs typeface="+mn-cs"/>
              </a:defRPr>
            </a:lvl6pPr>
            <a:lvl7pPr marL="723900" indent="-180975" algn="just" defTabSz="914342" rtl="0" eaLnBrk="1" latinLnBrk="0" hangingPunct="1">
              <a:lnSpc>
                <a:spcPct val="125000"/>
              </a:lnSpc>
              <a:spcBef>
                <a:spcPts val="600"/>
              </a:spcBef>
              <a:buClr>
                <a:schemeClr val="tx1"/>
              </a:buClr>
              <a:buFont typeface="Arial" pitchFamily="34" charset="0"/>
              <a:buChar char="–"/>
              <a:defRPr lang="en-GB" sz="1400" kern="1200" noProof="0" dirty="0" smtClean="0">
                <a:solidFill>
                  <a:schemeClr val="tx1"/>
                </a:solidFill>
                <a:latin typeface="+mn-lt"/>
                <a:ea typeface="+mn-ea"/>
                <a:cs typeface="+mn-cs"/>
              </a:defRPr>
            </a:lvl7pPr>
            <a:lvl8pPr marL="904875" indent="-180975" algn="just" defTabSz="914342" rtl="0" eaLnBrk="1" latinLnBrk="0" hangingPunct="1">
              <a:lnSpc>
                <a:spcPct val="125000"/>
              </a:lnSpc>
              <a:spcBef>
                <a:spcPts val="600"/>
              </a:spcBef>
              <a:buClr>
                <a:schemeClr val="tx1"/>
              </a:buClr>
              <a:buFont typeface="Arial" pitchFamily="34" charset="0"/>
              <a:buChar char="–"/>
              <a:defRPr lang="en-GB" sz="1400" kern="1200" noProof="0" dirty="0" smtClean="0">
                <a:solidFill>
                  <a:schemeClr val="tx1"/>
                </a:solidFill>
                <a:latin typeface="+mn-lt"/>
                <a:ea typeface="+mn-ea"/>
                <a:cs typeface="+mn-cs"/>
              </a:defRPr>
            </a:lvl8pPr>
            <a:lvl9pPr marL="1085850" indent="-180975" algn="just" defTabSz="914342" rtl="0" eaLnBrk="1" latinLnBrk="0" hangingPunct="1">
              <a:lnSpc>
                <a:spcPct val="125000"/>
              </a:lnSpc>
              <a:spcBef>
                <a:spcPts val="600"/>
              </a:spcBef>
              <a:buClr>
                <a:schemeClr val="tx1"/>
              </a:buClr>
              <a:buFont typeface="Arial" pitchFamily="34" charset="0"/>
              <a:buChar char="–"/>
              <a:defRPr lang="en-GB" sz="1400" kern="1200" baseline="0" noProof="0" dirty="0">
                <a:solidFill>
                  <a:schemeClr val="tx1"/>
                </a:solidFill>
                <a:latin typeface="+mn-lt"/>
                <a:ea typeface="+mn-ea"/>
                <a:cs typeface="+mn-cs"/>
              </a:defRPr>
            </a:lvl9pPr>
          </a:lstStyle>
          <a:p>
            <a:pPr algn="l" defTabSz="764118">
              <a:lnSpc>
                <a:spcPct val="100000"/>
              </a:lnSpc>
              <a:spcBef>
                <a:spcPts val="0"/>
              </a:spcBef>
              <a:spcAft>
                <a:spcPts val="0"/>
              </a:spcAft>
            </a:pPr>
            <a:r>
              <a:rPr lang="en-US" sz="1050" kern="0" dirty="0">
                <a:solidFill>
                  <a:srgbClr val="0F2B4B"/>
                </a:solidFill>
                <a:latin typeface="Calibri" panose="020F0502020204030204" pitchFamily="34" charset="0"/>
                <a:cs typeface="Arial"/>
              </a:rPr>
              <a:t>Value Drivers</a:t>
            </a:r>
          </a:p>
          <a:p>
            <a:pPr marL="135731" lvl="1" indent="-135731">
              <a:spcBef>
                <a:spcPts val="450"/>
              </a:spcBef>
              <a:buSzPct val="100000"/>
              <a:buFont typeface="Calibri Light" panose="020F0302020204030204" pitchFamily="34" charset="0"/>
              <a:buChar char="•"/>
            </a:pPr>
            <a:r>
              <a:rPr lang="en-US" sz="900" dirty="0">
                <a:latin typeface="Calibri Light" panose="020F0302020204030204" pitchFamily="34" charset="0"/>
              </a:rPr>
              <a:t>Retail electricity prices</a:t>
            </a:r>
          </a:p>
          <a:p>
            <a:pPr marL="135731" lvl="1" indent="-135731">
              <a:spcBef>
                <a:spcPts val="450"/>
              </a:spcBef>
              <a:buSzPct val="100000"/>
              <a:buFont typeface="Calibri Light" panose="020F0302020204030204" pitchFamily="34" charset="0"/>
              <a:buChar char="•"/>
            </a:pPr>
            <a:r>
              <a:rPr lang="en-US" sz="900" dirty="0">
                <a:latin typeface="Calibri Light" panose="020F0302020204030204" pitchFamily="34" charset="0"/>
              </a:rPr>
              <a:t>Retail demand charges</a:t>
            </a:r>
          </a:p>
          <a:p>
            <a:pPr marL="135731" lvl="1" indent="-135731">
              <a:spcBef>
                <a:spcPts val="450"/>
              </a:spcBef>
              <a:buSzPct val="100000"/>
              <a:buFont typeface="Calibri Light" panose="020F0302020204030204" pitchFamily="34" charset="0"/>
              <a:buChar char="•"/>
            </a:pPr>
            <a:r>
              <a:rPr lang="en-US" sz="900" dirty="0">
                <a:latin typeface="Calibri Light" panose="020F0302020204030204" pitchFamily="34" charset="0"/>
              </a:rPr>
              <a:t>Demand growth</a:t>
            </a:r>
          </a:p>
          <a:p>
            <a:pPr marL="135731" lvl="1" indent="-135731">
              <a:spcBef>
                <a:spcPts val="450"/>
              </a:spcBef>
              <a:buSzPct val="100000"/>
              <a:buFont typeface="Calibri Light" panose="020F0302020204030204" pitchFamily="34" charset="0"/>
              <a:buChar char="•"/>
            </a:pPr>
            <a:r>
              <a:rPr lang="en-US" sz="900" dirty="0">
                <a:latin typeface="Calibri Light" panose="020F0302020204030204" pitchFamily="34" charset="0"/>
              </a:rPr>
              <a:t>Wholesale capacity prices</a:t>
            </a:r>
          </a:p>
          <a:p>
            <a:pPr marL="135731" lvl="1" indent="-135731">
              <a:spcBef>
                <a:spcPts val="450"/>
              </a:spcBef>
              <a:buSzPct val="100000"/>
              <a:buFont typeface="Calibri Light" panose="020F0302020204030204" pitchFamily="34" charset="0"/>
              <a:buChar char="•"/>
            </a:pPr>
            <a:r>
              <a:rPr lang="en-US" sz="900" dirty="0">
                <a:latin typeface="Calibri Light" panose="020F0302020204030204" pitchFamily="34" charset="0"/>
              </a:rPr>
              <a:t>Wholesale energy prices</a:t>
            </a:r>
          </a:p>
          <a:p>
            <a:pPr marL="135731" lvl="1" indent="-135731">
              <a:spcBef>
                <a:spcPts val="450"/>
              </a:spcBef>
              <a:buSzPct val="100000"/>
              <a:buFont typeface="Calibri Light" panose="020F0302020204030204" pitchFamily="34" charset="0"/>
              <a:buChar char="•"/>
            </a:pPr>
            <a:r>
              <a:rPr lang="en-US" sz="900" dirty="0">
                <a:latin typeface="Calibri Light" panose="020F0302020204030204" pitchFamily="34" charset="0"/>
              </a:rPr>
              <a:t>Wholesale ancillary services prices</a:t>
            </a:r>
          </a:p>
          <a:p>
            <a:pPr marL="135731" lvl="1" indent="-135731">
              <a:spcBef>
                <a:spcPts val="450"/>
              </a:spcBef>
              <a:buSzPct val="100000"/>
              <a:buFont typeface="Calibri Light" panose="020F0302020204030204" pitchFamily="34" charset="0"/>
              <a:buChar char="•"/>
            </a:pPr>
            <a:r>
              <a:rPr lang="en-US" sz="900" dirty="0">
                <a:latin typeface="Calibri Light" panose="020F0302020204030204" pitchFamily="34" charset="0"/>
              </a:rPr>
              <a:t>Reformed markets for wholesale-level value streams</a:t>
            </a:r>
          </a:p>
          <a:p>
            <a:pPr marL="135731" lvl="1" indent="-135731">
              <a:spcBef>
                <a:spcPts val="450"/>
              </a:spcBef>
              <a:buSzPct val="100000"/>
              <a:buFont typeface="Calibri Light" panose="020F0302020204030204" pitchFamily="34" charset="0"/>
              <a:buChar char="•"/>
            </a:pPr>
            <a:r>
              <a:rPr lang="en-US" sz="900" dirty="0">
                <a:latin typeface="Calibri Light" panose="020F0302020204030204" pitchFamily="34" charset="0"/>
              </a:rPr>
              <a:t>Emerging markets for distribution-level value streams</a:t>
            </a:r>
          </a:p>
        </p:txBody>
      </p:sp>
      <p:grpSp>
        <p:nvGrpSpPr>
          <p:cNvPr id="45" name="Group 44"/>
          <p:cNvGrpSpPr/>
          <p:nvPr/>
        </p:nvGrpSpPr>
        <p:grpSpPr>
          <a:xfrm>
            <a:off x="330433" y="1455115"/>
            <a:ext cx="5185868" cy="222533"/>
            <a:chOff x="442913" y="1341438"/>
            <a:chExt cx="11306175" cy="296711"/>
          </a:xfrm>
        </p:grpSpPr>
        <p:cxnSp>
          <p:nvCxnSpPr>
            <p:cNvPr id="46" name="Straight Connector 45"/>
            <p:cNvCxnSpPr/>
            <p:nvPr/>
          </p:nvCxnSpPr>
          <p:spPr>
            <a:xfrm>
              <a:off x="442913" y="1632477"/>
              <a:ext cx="11306175" cy="0"/>
            </a:xfrm>
            <a:prstGeom prst="line">
              <a:avLst/>
            </a:prstGeom>
            <a:ln w="127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442913" y="1341438"/>
              <a:ext cx="11306175" cy="296711"/>
            </a:xfrm>
            <a:prstGeom prst="rect">
              <a:avLst/>
            </a:prstGeom>
            <a:noFill/>
          </p:spPr>
          <p:txBody>
            <a:bodyPr wrap="square" lIns="0" tIns="0" rIns="0" bIns="0" rtlCol="0" anchor="ctr" anchorCtr="0">
              <a:noAutofit/>
            </a:bodyPr>
            <a:lstStyle/>
            <a:p>
              <a:r>
                <a:rPr lang="en-GB" sz="1013" b="1" dirty="0">
                  <a:solidFill>
                    <a:schemeClr val="accent2"/>
                  </a:solidFill>
                </a:rPr>
                <a:t>Representative Value Streams for Behind-the-Meter Distributed Energy Resources</a:t>
              </a:r>
            </a:p>
          </p:txBody>
        </p:sp>
      </p:grpSp>
      <p:sp>
        <p:nvSpPr>
          <p:cNvPr id="41" name="Rectangle 40"/>
          <p:cNvSpPr/>
          <p:nvPr/>
        </p:nvSpPr>
        <p:spPr>
          <a:xfrm>
            <a:off x="2242997" y="2800566"/>
            <a:ext cx="1440180" cy="342900"/>
          </a:xfrm>
          <a:prstGeom prst="rect">
            <a:avLst/>
          </a:prstGeom>
          <a:solidFill>
            <a:srgbClr val="0C56A6"/>
          </a:solidFill>
          <a:ln w="25400" cap="flat" cmpd="sng" algn="ctr">
            <a:noFill/>
            <a:prstDash val="solid"/>
          </a:ln>
          <a:effectLst/>
        </p:spPr>
        <p:txBody>
          <a:bodyPr rtlCol="0" anchor="ctr"/>
          <a:lstStyle/>
          <a:p>
            <a:pPr algn="ctr">
              <a:defRPr/>
            </a:pPr>
            <a:r>
              <a:rPr lang="en-US" sz="750" kern="0" dirty="0">
                <a:solidFill>
                  <a:prstClr val="white"/>
                </a:solidFill>
                <a:latin typeface="Arial"/>
              </a:rPr>
              <a:t>VOLTAGE SUPPORT</a:t>
            </a:r>
          </a:p>
        </p:txBody>
      </p:sp>
      <p:sp>
        <p:nvSpPr>
          <p:cNvPr id="43" name="Rectangle 42"/>
          <p:cNvSpPr/>
          <p:nvPr/>
        </p:nvSpPr>
        <p:spPr>
          <a:xfrm>
            <a:off x="2242995" y="2458256"/>
            <a:ext cx="1440180" cy="342900"/>
          </a:xfrm>
          <a:prstGeom prst="rect">
            <a:avLst/>
          </a:prstGeom>
          <a:solidFill>
            <a:srgbClr val="69A5D6"/>
          </a:solidFill>
          <a:ln w="25400" cap="flat" cmpd="sng" algn="ctr">
            <a:noFill/>
            <a:prstDash val="solid"/>
          </a:ln>
          <a:effectLst/>
        </p:spPr>
        <p:txBody>
          <a:bodyPr rtlCol="0" anchor="ctr"/>
          <a:lstStyle/>
          <a:p>
            <a:pPr algn="ctr">
              <a:defRPr/>
            </a:pPr>
            <a:r>
              <a:rPr lang="en-US" sz="750" kern="0" dirty="0">
                <a:solidFill>
                  <a:prstClr val="white"/>
                </a:solidFill>
                <a:latin typeface="Arial"/>
              </a:rPr>
              <a:t>CONGESTION CHARGES</a:t>
            </a:r>
          </a:p>
        </p:txBody>
      </p:sp>
      <p:sp>
        <p:nvSpPr>
          <p:cNvPr id="44" name="Rectangle 43"/>
          <p:cNvSpPr/>
          <p:nvPr/>
        </p:nvSpPr>
        <p:spPr>
          <a:xfrm>
            <a:off x="2242993" y="2119981"/>
            <a:ext cx="1440181" cy="342900"/>
          </a:xfrm>
          <a:prstGeom prst="rect">
            <a:avLst/>
          </a:prstGeom>
          <a:solidFill>
            <a:srgbClr val="B2CC6D"/>
          </a:solidFill>
          <a:ln w="25400" cap="flat" cmpd="sng" algn="ctr">
            <a:noFill/>
            <a:prstDash val="solid"/>
          </a:ln>
          <a:effectLst/>
        </p:spPr>
        <p:txBody>
          <a:bodyPr rtlCol="0" anchor="ctr"/>
          <a:lstStyle/>
          <a:p>
            <a:pPr algn="ctr">
              <a:defRPr/>
            </a:pPr>
            <a:r>
              <a:rPr lang="en-US" sz="750" kern="0" dirty="0">
                <a:solidFill>
                  <a:srgbClr val="FFFFFF"/>
                </a:solidFill>
                <a:latin typeface="Arial"/>
              </a:rPr>
              <a:t>DISTRIBUTION LOSSES</a:t>
            </a:r>
          </a:p>
        </p:txBody>
      </p:sp>
    </p:spTree>
    <p:extLst>
      <p:ext uri="{BB962C8B-B14F-4D97-AF65-F5344CB8AC3E}">
        <p14:creationId xmlns:p14="http://schemas.microsoft.com/office/powerpoint/2010/main" val="16610980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New York is Laying the Groundwork for Distributed Energy Resources in Wholesale Markets</a:t>
            </a:r>
            <a:endParaRPr lang="en-GB" dirty="0"/>
          </a:p>
        </p:txBody>
      </p:sp>
      <p:grpSp>
        <p:nvGrpSpPr>
          <p:cNvPr id="10" name="Group 9"/>
          <p:cNvGrpSpPr/>
          <p:nvPr/>
        </p:nvGrpSpPr>
        <p:grpSpPr>
          <a:xfrm>
            <a:off x="4981575" y="953101"/>
            <a:ext cx="3830241" cy="204863"/>
            <a:chOff x="442913" y="1341438"/>
            <a:chExt cx="11306175" cy="296711"/>
          </a:xfrm>
        </p:grpSpPr>
        <p:cxnSp>
          <p:nvCxnSpPr>
            <p:cNvPr id="8" name="Straight Connector 7"/>
            <p:cNvCxnSpPr/>
            <p:nvPr/>
          </p:nvCxnSpPr>
          <p:spPr>
            <a:xfrm>
              <a:off x="442913" y="1632477"/>
              <a:ext cx="11306175" cy="0"/>
            </a:xfrm>
            <a:prstGeom prst="line">
              <a:avLst/>
            </a:prstGeom>
            <a:ln w="127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42913" y="1341438"/>
              <a:ext cx="11306175" cy="296711"/>
            </a:xfrm>
            <a:prstGeom prst="rect">
              <a:avLst/>
            </a:prstGeom>
            <a:noFill/>
          </p:spPr>
          <p:txBody>
            <a:bodyPr wrap="square" lIns="0" tIns="0" rIns="0" bIns="0" rtlCol="0" anchor="ctr" anchorCtr="0">
              <a:noAutofit/>
            </a:bodyPr>
            <a:lstStyle/>
            <a:p>
              <a:pPr algn="just" defTabSz="685757">
                <a:buClr>
                  <a:srgbClr val="0F2B4B"/>
                </a:buClr>
              </a:pPr>
              <a:r>
                <a:rPr lang="en-GB" sz="1050" b="1" dirty="0">
                  <a:solidFill>
                    <a:srgbClr val="69A5D6"/>
                  </a:solidFill>
                  <a:latin typeface="Calibri Light"/>
                </a:rPr>
                <a:t>Wholesale and Retail Market Relationships and Coordination</a:t>
              </a:r>
            </a:p>
          </p:txBody>
        </p:sp>
      </p:grpSp>
      <p:sp>
        <p:nvSpPr>
          <p:cNvPr id="48" name="TextBox 47"/>
          <p:cNvSpPr txBox="1"/>
          <p:nvPr/>
        </p:nvSpPr>
        <p:spPr>
          <a:xfrm>
            <a:off x="409320" y="1038190"/>
            <a:ext cx="4378889" cy="3229089"/>
          </a:xfrm>
          <a:prstGeom prst="rect">
            <a:avLst/>
          </a:prstGeom>
          <a:noFill/>
        </p:spPr>
        <p:txBody>
          <a:bodyPr wrap="square" lIns="0" tIns="0" rIns="0" bIns="0" rtlCol="0">
            <a:spAutoFit/>
          </a:bodyPr>
          <a:lstStyle/>
          <a:p>
            <a:pPr algn="just" defTabSz="685757">
              <a:buClr>
                <a:srgbClr val="0F2B4B"/>
              </a:buClr>
            </a:pPr>
            <a:r>
              <a:rPr lang="en-US" sz="900" dirty="0">
                <a:solidFill>
                  <a:srgbClr val="0F2B4B"/>
                </a:solidFill>
                <a:latin typeface="Calibri Light" panose="020F0302020204030204" pitchFamily="34" charset="0"/>
              </a:rPr>
              <a:t>The NYISO has been directed by FERC to make enhancements to existing mechanisms which will give DR providers and DER resources more opportunities to participate in wholesale markets. In order to allow for appropriate compensation of services, market changes should </a:t>
            </a:r>
            <a:r>
              <a:rPr lang="en-US" sz="900">
                <a:solidFill>
                  <a:srgbClr val="0F2B4B"/>
                </a:solidFill>
                <a:latin typeface="Calibri Light" panose="020F0302020204030204" pitchFamily="34" charset="0"/>
              </a:rPr>
              <a:t>alighn </a:t>
            </a:r>
            <a:r>
              <a:rPr lang="en-US" sz="900" dirty="0">
                <a:solidFill>
                  <a:srgbClr val="0F2B4B"/>
                </a:solidFill>
                <a:latin typeface="Calibri Light" panose="020F0302020204030204" pitchFamily="34" charset="0"/>
              </a:rPr>
              <a:t>with FERC Orders 719 and 745. Efforts to integrate DERs into NYISO consider the following five building blocks:</a:t>
            </a:r>
          </a:p>
          <a:p>
            <a:pPr marL="135017" lvl="1" indent="-135017" algn="just" defTabSz="685757">
              <a:spcBef>
                <a:spcPts val="450"/>
              </a:spcBef>
              <a:buClr>
                <a:srgbClr val="69A5D6"/>
              </a:buClr>
              <a:buSzPct val="100000"/>
              <a:buFont typeface="Calibri Light" panose="020F0302020204030204" pitchFamily="34" charset="0"/>
              <a:buAutoNum type="arabicPeriod"/>
            </a:pPr>
            <a:r>
              <a:rPr lang="en-US" sz="900" dirty="0">
                <a:solidFill>
                  <a:srgbClr val="0F2B4B"/>
                </a:solidFill>
                <a:latin typeface="Calibri Light" panose="020F0302020204030204" pitchFamily="34" charset="0"/>
              </a:rPr>
              <a:t>Integrate DERs into the energy and ancillary services markets by providing opportunities for resources to take advantage of economic scheduling and real-time locational prices. </a:t>
            </a:r>
          </a:p>
          <a:p>
            <a:pPr marL="135017" lvl="1" indent="-135017" algn="just" defTabSz="685757">
              <a:spcBef>
                <a:spcPts val="450"/>
              </a:spcBef>
              <a:buClr>
                <a:srgbClr val="69A5D6"/>
              </a:buClr>
              <a:buSzPct val="100000"/>
              <a:buFont typeface="Calibri Light" panose="020F0302020204030204" pitchFamily="34" charset="0"/>
              <a:buAutoNum type="arabicPeriod"/>
            </a:pPr>
            <a:r>
              <a:rPr lang="en-US" sz="900" dirty="0">
                <a:solidFill>
                  <a:srgbClr val="0F2B4B"/>
                </a:solidFill>
                <a:latin typeface="Calibri Light" panose="020F0302020204030204" pitchFamily="34" charset="0"/>
              </a:rPr>
              <a:t>Provide open access for DERs to participate in wholesale markets by animating markets to leverage demand-side contributions. </a:t>
            </a:r>
          </a:p>
          <a:p>
            <a:pPr marL="135017" lvl="1" indent="-135017" algn="just" defTabSz="685757">
              <a:spcBef>
                <a:spcPts val="450"/>
              </a:spcBef>
              <a:buClr>
                <a:srgbClr val="69A5D6"/>
              </a:buClr>
              <a:buSzPct val="100000"/>
              <a:buFont typeface="Calibri Light" panose="020F0302020204030204" pitchFamily="34" charset="0"/>
              <a:buAutoNum type="arabicPeriod"/>
            </a:pPr>
            <a:r>
              <a:rPr lang="en-US" sz="900" dirty="0">
                <a:solidFill>
                  <a:srgbClr val="0F2B4B"/>
                </a:solidFill>
                <a:latin typeface="Calibri Light" panose="020F0302020204030204" pitchFamily="34" charset="0"/>
              </a:rPr>
              <a:t>Recognizing that DERs will most likely participate in the form of an aggregation, NYISO expects “better telemetry data for operations and monitoring functions, and after-the-fact revenue quality meter data from individual resources for measurement and verification, and settlements.” </a:t>
            </a:r>
          </a:p>
          <a:p>
            <a:pPr marL="135017" lvl="1" indent="-135017" algn="just" defTabSz="685757">
              <a:spcBef>
                <a:spcPts val="450"/>
              </a:spcBef>
              <a:buClr>
                <a:srgbClr val="69A5D6"/>
              </a:buClr>
              <a:buSzPct val="100000"/>
              <a:buFont typeface="Calibri Light" panose="020F0302020204030204" pitchFamily="34" charset="0"/>
              <a:buAutoNum type="arabicPeriod"/>
            </a:pPr>
            <a:r>
              <a:rPr lang="en-US" sz="900" dirty="0">
                <a:solidFill>
                  <a:srgbClr val="0F2B4B"/>
                </a:solidFill>
                <a:latin typeface="Calibri Light" panose="020F0302020204030204" pitchFamily="34" charset="0"/>
              </a:rPr>
              <a:t>Treat DERs comparably with other supply resources participating in NYISO’s Energy, Capacity and Ancillary Services markets. “The NYISO intends for the DER program to align incentives and compensation based on the flexibility and measured performance of the DER (or aggregation), and market clearing prices based on the needs of the system.</a:t>
            </a:r>
          </a:p>
          <a:p>
            <a:pPr marL="135017" lvl="1" indent="-135017" algn="just" defTabSz="685757">
              <a:spcBef>
                <a:spcPts val="450"/>
              </a:spcBef>
              <a:buClr>
                <a:srgbClr val="69A5D6"/>
              </a:buClr>
              <a:buSzPct val="100000"/>
              <a:buFont typeface="Calibri Light" panose="020F0302020204030204" pitchFamily="34" charset="0"/>
              <a:buAutoNum type="arabicPeriod"/>
            </a:pPr>
            <a:r>
              <a:rPr lang="en-US" sz="900" dirty="0">
                <a:solidFill>
                  <a:srgbClr val="0F2B4B"/>
                </a:solidFill>
                <a:latin typeface="Calibri Light" panose="020F0302020204030204" pitchFamily="34" charset="0"/>
              </a:rPr>
              <a:t>Although the transactions will be happening at the wholesale level it is important to appropriately represent the impacts of DERs on the bulk power system at the corresponding interface. Typically the interface of distributed resources with the bulk power system is the transmission level substation load bus associated with the distribution network.</a:t>
            </a:r>
          </a:p>
        </p:txBody>
      </p:sp>
      <p:sp>
        <p:nvSpPr>
          <p:cNvPr id="49" name="TextBox 48"/>
          <p:cNvSpPr txBox="1"/>
          <p:nvPr/>
        </p:nvSpPr>
        <p:spPr>
          <a:xfrm>
            <a:off x="332186" y="4579145"/>
            <a:ext cx="1014015" cy="142875"/>
          </a:xfrm>
          <a:prstGeom prst="rect">
            <a:avLst/>
          </a:prstGeom>
          <a:noFill/>
        </p:spPr>
        <p:txBody>
          <a:bodyPr wrap="square" lIns="0" tIns="0" rIns="0" bIns="0" rtlCol="0" anchor="ctr" anchorCtr="0">
            <a:noAutofit/>
          </a:bodyPr>
          <a:lstStyle/>
          <a:p>
            <a:pPr algn="just" defTabSz="685757">
              <a:buClr>
                <a:srgbClr val="0F2B4B"/>
              </a:buClr>
            </a:pPr>
            <a:r>
              <a:rPr lang="en-GB" sz="600" dirty="0">
                <a:solidFill>
                  <a:srgbClr val="69A5D6"/>
                </a:solidFill>
                <a:latin typeface="Calibri Light"/>
              </a:rPr>
              <a:t>Source: NYISO</a:t>
            </a:r>
          </a:p>
        </p:txBody>
      </p:sp>
      <p:grpSp>
        <p:nvGrpSpPr>
          <p:cNvPr id="3" name="Group 2"/>
          <p:cNvGrpSpPr/>
          <p:nvPr/>
        </p:nvGrpSpPr>
        <p:grpSpPr>
          <a:xfrm>
            <a:off x="5222923" y="1449233"/>
            <a:ext cx="3729956" cy="2957637"/>
            <a:chOff x="3731331" y="2183395"/>
            <a:chExt cx="4973274" cy="3943516"/>
          </a:xfrm>
        </p:grpSpPr>
        <p:pic>
          <p:nvPicPr>
            <p:cNvPr id="35"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43159" y="5592671"/>
              <a:ext cx="592347" cy="534240"/>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51744" y="2906622"/>
              <a:ext cx="1094390" cy="821623"/>
            </a:xfrm>
            <a:prstGeom prst="rect">
              <a:avLst/>
            </a:prstGeom>
          </p:spPr>
        </p:pic>
        <p:grpSp>
          <p:nvGrpSpPr>
            <p:cNvPr id="12" name="Group 11"/>
            <p:cNvGrpSpPr/>
            <p:nvPr/>
          </p:nvGrpSpPr>
          <p:grpSpPr>
            <a:xfrm>
              <a:off x="5496237" y="3561485"/>
              <a:ext cx="1150726" cy="1137164"/>
              <a:chOff x="676150" y="3478746"/>
              <a:chExt cx="1150726" cy="1137164"/>
            </a:xfrm>
          </p:grpSpPr>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7289" y="3614030"/>
                <a:ext cx="1005909" cy="1001880"/>
              </a:xfrm>
              <a:prstGeom prst="rect">
                <a:avLst/>
              </a:prstGeom>
            </p:spPr>
          </p:pic>
          <p:sp>
            <p:nvSpPr>
              <p:cNvPr id="14" name="TextBox 13"/>
              <p:cNvSpPr txBox="1"/>
              <p:nvPr/>
            </p:nvSpPr>
            <p:spPr>
              <a:xfrm>
                <a:off x="676150" y="3478746"/>
                <a:ext cx="1150726" cy="153888"/>
              </a:xfrm>
              <a:prstGeom prst="rect">
                <a:avLst/>
              </a:prstGeom>
              <a:noFill/>
            </p:spPr>
            <p:txBody>
              <a:bodyPr wrap="square" lIns="0" tIns="0" rIns="0" bIns="0" rtlCol="0">
                <a:spAutoFit/>
              </a:bodyPr>
              <a:lstStyle/>
              <a:p>
                <a:pPr algn="ctr" defTabSz="685757">
                  <a:buClr>
                    <a:srgbClr val="0F2B4B"/>
                  </a:buClr>
                </a:pPr>
                <a:r>
                  <a:rPr lang="en-US" sz="750" b="1" dirty="0">
                    <a:ln w="0"/>
                    <a:solidFill>
                      <a:srgbClr val="0F2B4B"/>
                    </a:solidFill>
                    <a:latin typeface="Calibri Light"/>
                  </a:rPr>
                  <a:t>Aggregator</a:t>
                </a:r>
              </a:p>
            </p:txBody>
          </p:sp>
        </p:grpSp>
        <p:sp>
          <p:nvSpPr>
            <p:cNvPr id="4" name="Rectangle 3"/>
            <p:cNvSpPr/>
            <p:nvPr/>
          </p:nvSpPr>
          <p:spPr>
            <a:xfrm>
              <a:off x="4360335" y="5014319"/>
              <a:ext cx="3437465" cy="1101072"/>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lIns="40500" tIns="40500" rIns="40500" bIns="40500" rtlCol="0" anchor="t"/>
            <a:lstStyle/>
            <a:p>
              <a:pPr algn="ctr" defTabSz="685757">
                <a:buClr>
                  <a:srgbClr val="0F2B4B"/>
                </a:buClr>
              </a:pPr>
              <a:r>
                <a:rPr lang="en-US" sz="750" b="1" dirty="0">
                  <a:solidFill>
                    <a:srgbClr val="0F2B4B"/>
                  </a:solidFill>
                  <a:latin typeface="Calibri Light"/>
                </a:rPr>
                <a:t>Distributed Energy Resources</a:t>
              </a:r>
            </a:p>
          </p:txBody>
        </p:sp>
        <p:sp>
          <p:nvSpPr>
            <p:cNvPr id="6" name="Rectangle 5"/>
            <p:cNvSpPr/>
            <p:nvPr/>
          </p:nvSpPr>
          <p:spPr>
            <a:xfrm>
              <a:off x="4526287" y="5301651"/>
              <a:ext cx="1316872" cy="2709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685757">
                <a:buClr>
                  <a:srgbClr val="0F2B4B"/>
                </a:buClr>
              </a:pPr>
              <a:r>
                <a:rPr lang="en-US" sz="750" dirty="0">
                  <a:solidFill>
                    <a:prstClr val="white"/>
                  </a:solidFill>
                  <a:latin typeface="Calibri Light"/>
                </a:rPr>
                <a:t>Wholesale Services</a:t>
              </a:r>
            </a:p>
          </p:txBody>
        </p:sp>
        <p:sp>
          <p:nvSpPr>
            <p:cNvPr id="18" name="Rectangle 17"/>
            <p:cNvSpPr/>
            <p:nvPr/>
          </p:nvSpPr>
          <p:spPr>
            <a:xfrm>
              <a:off x="6313334" y="5301651"/>
              <a:ext cx="1316872" cy="270933"/>
            </a:xfrm>
            <a:prstGeom prst="rect">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lIns="40500" tIns="40500" rIns="40500" bIns="40500" rtlCol="0" anchor="ctr"/>
            <a:lstStyle/>
            <a:p>
              <a:pPr algn="ctr" defTabSz="685757">
                <a:buClr>
                  <a:srgbClr val="0F2B4B"/>
                </a:buClr>
              </a:pPr>
              <a:r>
                <a:rPr lang="en-US" sz="750" dirty="0">
                  <a:solidFill>
                    <a:prstClr val="white"/>
                  </a:solidFill>
                  <a:latin typeface="Calibri Light"/>
                </a:rPr>
                <a:t>Retail Services</a:t>
              </a:r>
            </a:p>
          </p:txBody>
        </p:sp>
        <p:cxnSp>
          <p:nvCxnSpPr>
            <p:cNvPr id="20" name="Connector: Elbow 19"/>
            <p:cNvCxnSpPr>
              <a:stCxn id="18" idx="3"/>
              <a:endCxn id="52" idx="3"/>
            </p:cNvCxnSpPr>
            <p:nvPr/>
          </p:nvCxnSpPr>
          <p:spPr>
            <a:xfrm flipV="1">
              <a:off x="7630206" y="3325003"/>
              <a:ext cx="635682" cy="2112115"/>
            </a:xfrm>
            <a:prstGeom prst="bentConnector3">
              <a:avLst>
                <a:gd name="adj1" fmla="val 13596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7610206" y="4182158"/>
              <a:ext cx="824155" cy="307776"/>
            </a:xfrm>
            <a:prstGeom prst="rect">
              <a:avLst/>
            </a:prstGeom>
            <a:noFill/>
          </p:spPr>
          <p:txBody>
            <a:bodyPr wrap="square" lIns="0" tIns="0" rIns="0" bIns="0" rtlCol="0">
              <a:spAutoFit/>
            </a:bodyPr>
            <a:lstStyle/>
            <a:p>
              <a:pPr algn="r" defTabSz="685757">
                <a:buClr>
                  <a:srgbClr val="0F2B4B"/>
                </a:buClr>
              </a:pPr>
              <a:r>
                <a:rPr lang="en-US" sz="750" dirty="0">
                  <a:solidFill>
                    <a:srgbClr val="0F2B4B"/>
                  </a:solidFill>
                  <a:latin typeface="Calibri Light"/>
                </a:rPr>
                <a:t>Retail service direct to DSP</a:t>
              </a:r>
            </a:p>
          </p:txBody>
        </p:sp>
        <p:sp>
          <p:nvSpPr>
            <p:cNvPr id="22" name="TextBox 21"/>
            <p:cNvSpPr txBox="1"/>
            <p:nvPr/>
          </p:nvSpPr>
          <p:spPr>
            <a:xfrm>
              <a:off x="3731331" y="4223387"/>
              <a:ext cx="1200317" cy="307776"/>
            </a:xfrm>
            <a:prstGeom prst="rect">
              <a:avLst/>
            </a:prstGeom>
            <a:noFill/>
          </p:spPr>
          <p:txBody>
            <a:bodyPr wrap="square" lIns="0" tIns="0" rIns="0" bIns="0" rtlCol="0">
              <a:spAutoFit/>
            </a:bodyPr>
            <a:lstStyle/>
            <a:p>
              <a:pPr defTabSz="685757">
                <a:buClr>
                  <a:srgbClr val="0F2B4B"/>
                </a:buClr>
              </a:pPr>
              <a:r>
                <a:rPr lang="en-US" sz="750" dirty="0">
                  <a:solidFill>
                    <a:srgbClr val="0F2B4B"/>
                  </a:solidFill>
                  <a:latin typeface="Calibri Light"/>
                </a:rPr>
                <a:t>Wholesale  service direct to ISO</a:t>
              </a:r>
            </a:p>
          </p:txBody>
        </p:sp>
        <p:cxnSp>
          <p:nvCxnSpPr>
            <p:cNvPr id="24" name="Connector: Elbow 23"/>
            <p:cNvCxnSpPr>
              <a:stCxn id="6" idx="1"/>
              <a:endCxn id="7" idx="1"/>
            </p:cNvCxnSpPr>
            <p:nvPr/>
          </p:nvCxnSpPr>
          <p:spPr>
            <a:xfrm rot="10800000">
              <a:off x="3851745" y="3317434"/>
              <a:ext cx="674543" cy="2119684"/>
            </a:xfrm>
            <a:prstGeom prst="bentConnector3">
              <a:avLst>
                <a:gd name="adj1" fmla="val 13389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4" idx="0"/>
              <a:endCxn id="13" idx="2"/>
            </p:cNvCxnSpPr>
            <p:nvPr/>
          </p:nvCxnSpPr>
          <p:spPr>
            <a:xfrm flipH="1" flipV="1">
              <a:off x="6070331" y="4698650"/>
              <a:ext cx="8737" cy="315669"/>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p:cNvCxnSpPr>
              <a:stCxn id="14" idx="0"/>
              <a:endCxn id="7" idx="3"/>
            </p:cNvCxnSpPr>
            <p:nvPr/>
          </p:nvCxnSpPr>
          <p:spPr>
            <a:xfrm rot="16200000" flipV="1">
              <a:off x="5386843" y="2876727"/>
              <a:ext cx="244052" cy="1125467"/>
            </a:xfrm>
            <a:prstGeom prst="bentConnector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p:cNvCxnSpPr>
              <a:stCxn id="14" idx="0"/>
              <a:endCxn id="52" idx="1"/>
            </p:cNvCxnSpPr>
            <p:nvPr/>
          </p:nvCxnSpPr>
          <p:spPr>
            <a:xfrm rot="5400000" flipH="1" flipV="1">
              <a:off x="6554220" y="2842387"/>
              <a:ext cx="236481" cy="1201717"/>
            </a:xfrm>
            <a:prstGeom prst="bentConnector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6230225" y="2895110"/>
              <a:ext cx="1014847" cy="307776"/>
            </a:xfrm>
            <a:prstGeom prst="rect">
              <a:avLst/>
            </a:prstGeom>
            <a:noFill/>
          </p:spPr>
          <p:txBody>
            <a:bodyPr wrap="square" lIns="0" tIns="0" rIns="0" bIns="0" rtlCol="0">
              <a:spAutoFit/>
            </a:bodyPr>
            <a:lstStyle/>
            <a:p>
              <a:pPr algn="r" defTabSz="685757">
                <a:buClr>
                  <a:srgbClr val="0F2B4B"/>
                </a:buClr>
              </a:pPr>
              <a:r>
                <a:rPr lang="en-US" sz="750" dirty="0">
                  <a:solidFill>
                    <a:srgbClr val="0F2B4B"/>
                  </a:solidFill>
                  <a:latin typeface="Calibri Light"/>
                </a:rPr>
                <a:t>Retail service provided to DSP</a:t>
              </a:r>
            </a:p>
          </p:txBody>
        </p:sp>
        <p:sp>
          <p:nvSpPr>
            <p:cNvPr id="42" name="TextBox 41"/>
            <p:cNvSpPr txBox="1"/>
            <p:nvPr/>
          </p:nvSpPr>
          <p:spPr>
            <a:xfrm>
              <a:off x="5030513" y="2895110"/>
              <a:ext cx="1251446" cy="307776"/>
            </a:xfrm>
            <a:prstGeom prst="rect">
              <a:avLst/>
            </a:prstGeom>
            <a:noFill/>
          </p:spPr>
          <p:txBody>
            <a:bodyPr wrap="square" lIns="0" tIns="0" rIns="0" bIns="0" rtlCol="0">
              <a:spAutoFit/>
            </a:bodyPr>
            <a:lstStyle/>
            <a:p>
              <a:pPr defTabSz="685757">
                <a:buClr>
                  <a:srgbClr val="0F2B4B"/>
                </a:buClr>
              </a:pPr>
              <a:r>
                <a:rPr lang="en-US" sz="750" dirty="0">
                  <a:solidFill>
                    <a:srgbClr val="0F2B4B"/>
                  </a:solidFill>
                  <a:latin typeface="Calibri Light"/>
                </a:rPr>
                <a:t>Wholesale service provided to ISO</a:t>
              </a:r>
            </a:p>
          </p:txBody>
        </p:sp>
        <p:sp>
          <p:nvSpPr>
            <p:cNvPr id="43" name="TextBox 42"/>
            <p:cNvSpPr txBox="1"/>
            <p:nvPr/>
          </p:nvSpPr>
          <p:spPr>
            <a:xfrm>
              <a:off x="4041380" y="2183395"/>
              <a:ext cx="4136021" cy="153888"/>
            </a:xfrm>
            <a:prstGeom prst="rect">
              <a:avLst/>
            </a:prstGeom>
            <a:noFill/>
          </p:spPr>
          <p:txBody>
            <a:bodyPr wrap="square" lIns="0" tIns="0" rIns="0" bIns="0" rtlCol="0">
              <a:spAutoFit/>
            </a:bodyPr>
            <a:lstStyle/>
            <a:p>
              <a:pPr algn="ctr" defTabSz="685757">
                <a:buClr>
                  <a:srgbClr val="0F2B4B"/>
                </a:buClr>
              </a:pPr>
              <a:r>
                <a:rPr lang="en-US" sz="750" dirty="0">
                  <a:solidFill>
                    <a:srgbClr val="0F2B4B"/>
                  </a:solidFill>
                  <a:latin typeface="Calibri Light"/>
                </a:rPr>
                <a:t>Wholesale service provided through DSP* as a ‘super aggregator’</a:t>
              </a:r>
            </a:p>
          </p:txBody>
        </p:sp>
        <p:cxnSp>
          <p:nvCxnSpPr>
            <p:cNvPr id="45" name="Connector: Elbow 44"/>
            <p:cNvCxnSpPr>
              <a:stCxn id="51" idx="0"/>
              <a:endCxn id="39" idx="0"/>
            </p:cNvCxnSpPr>
            <p:nvPr/>
          </p:nvCxnSpPr>
          <p:spPr>
            <a:xfrm rot="16200000" flipV="1">
              <a:off x="6235145" y="728345"/>
              <a:ext cx="93632" cy="3808641"/>
            </a:xfrm>
            <a:prstGeom prst="bentConnector3">
              <a:avLst>
                <a:gd name="adj1" fmla="val 280847"/>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7273318" y="2679481"/>
              <a:ext cx="1431287" cy="1138337"/>
              <a:chOff x="1235188" y="2762829"/>
              <a:chExt cx="1318566" cy="1087131"/>
            </a:xfrm>
          </p:grpSpPr>
          <p:sp>
            <p:nvSpPr>
              <p:cNvPr id="51" name="TextBox 50"/>
              <p:cNvSpPr txBox="1"/>
              <p:nvPr/>
            </p:nvSpPr>
            <p:spPr>
              <a:xfrm>
                <a:off x="1598746" y="2762829"/>
                <a:ext cx="955008" cy="146966"/>
              </a:xfrm>
              <a:prstGeom prst="rect">
                <a:avLst/>
              </a:prstGeom>
              <a:noFill/>
            </p:spPr>
            <p:txBody>
              <a:bodyPr wrap="square" lIns="0" tIns="0" rIns="0" bIns="0" rtlCol="0">
                <a:spAutoFit/>
              </a:bodyPr>
              <a:lstStyle/>
              <a:p>
                <a:pPr algn="ctr" defTabSz="685757">
                  <a:buClr>
                    <a:srgbClr val="0F2B4B"/>
                  </a:buClr>
                </a:pPr>
                <a:r>
                  <a:rPr lang="en-US" sz="750" b="1" dirty="0">
                    <a:solidFill>
                      <a:srgbClr val="0F2B4B"/>
                    </a:solidFill>
                    <a:latin typeface="Calibri Light"/>
                  </a:rPr>
                  <a:t>DSP</a:t>
                </a:r>
              </a:p>
            </p:txBody>
          </p:sp>
          <p:pic>
            <p:nvPicPr>
              <p:cNvPr id="52" name="Picture 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35188" y="2908666"/>
                <a:ext cx="914400" cy="941294"/>
              </a:xfrm>
              <a:prstGeom prst="rect">
                <a:avLst/>
              </a:prstGeom>
            </p:spPr>
          </p:pic>
        </p:grpSp>
        <p:pic>
          <p:nvPicPr>
            <p:cNvPr id="36" name="Picture 3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40566" y="5688858"/>
              <a:ext cx="392666" cy="392666"/>
            </a:xfrm>
            <a:prstGeom prst="rect">
              <a:avLst/>
            </a:prstGeom>
          </p:spPr>
        </p:pic>
        <p:pic>
          <p:nvPicPr>
            <p:cNvPr id="38" name="Picture 37"/>
            <p:cNvPicPr>
              <a:picLocks noChangeAspect="1"/>
            </p:cNvPicPr>
            <p:nvPr/>
          </p:nvPicPr>
          <p:blipFill rotWithShape="1">
            <a:blip r:embed="rId8" cstate="print">
              <a:extLst>
                <a:ext uri="{28A0092B-C50C-407E-A947-70E740481C1C}">
                  <a14:useLocalDpi xmlns:a14="http://schemas.microsoft.com/office/drawing/2010/main" val="0"/>
                </a:ext>
              </a:extLst>
            </a:blip>
            <a:srcRect l="-7985" t="36047" r="-21887" b="27636"/>
            <a:stretch/>
          </p:blipFill>
          <p:spPr>
            <a:xfrm>
              <a:off x="6626921" y="5783174"/>
              <a:ext cx="832635" cy="286290"/>
            </a:xfrm>
            <a:prstGeom prst="rect">
              <a:avLst/>
            </a:prstGeom>
          </p:spPr>
        </p:pic>
        <p:pic>
          <p:nvPicPr>
            <p:cNvPr id="39" name="Picture 38"/>
            <p:cNvPicPr>
              <a:picLocks noChangeAspect="1"/>
            </p:cNvPicPr>
            <p:nvPr/>
          </p:nvPicPr>
          <p:blipFill>
            <a:blip r:embed="rId9"/>
            <a:stretch>
              <a:fillRect/>
            </a:stretch>
          </p:blipFill>
          <p:spPr>
            <a:xfrm>
              <a:off x="3910663" y="2585849"/>
              <a:ext cx="933953" cy="272309"/>
            </a:xfrm>
            <a:prstGeom prst="rect">
              <a:avLst/>
            </a:prstGeom>
          </p:spPr>
        </p:pic>
      </p:grpSp>
      <p:sp>
        <p:nvSpPr>
          <p:cNvPr id="40" name="Rectangle 39"/>
          <p:cNvSpPr/>
          <p:nvPr/>
        </p:nvSpPr>
        <p:spPr>
          <a:xfrm>
            <a:off x="993163" y="4569791"/>
            <a:ext cx="996908" cy="161583"/>
          </a:xfrm>
          <a:prstGeom prst="rect">
            <a:avLst/>
          </a:prstGeom>
          <a:noFill/>
        </p:spPr>
        <p:txBody>
          <a:bodyPr wrap="square" lIns="0" tIns="0" rIns="0" bIns="0" rtlCol="0" anchor="ctr" anchorCtr="0">
            <a:noAutofit/>
          </a:bodyPr>
          <a:lstStyle/>
          <a:p>
            <a:pPr algn="just" defTabSz="685757">
              <a:buClr>
                <a:srgbClr val="0F2B4B"/>
              </a:buClr>
            </a:pPr>
            <a:r>
              <a:rPr lang="en-US" sz="600" dirty="0">
                <a:solidFill>
                  <a:srgbClr val="69A5D6"/>
                </a:solidFill>
                <a:latin typeface="Calibri Light"/>
              </a:rPr>
              <a:t>*Distributed System Platform</a:t>
            </a:r>
          </a:p>
        </p:txBody>
      </p:sp>
    </p:spTree>
    <p:extLst>
      <p:ext uri="{BB962C8B-B14F-4D97-AF65-F5344CB8AC3E}">
        <p14:creationId xmlns:p14="http://schemas.microsoft.com/office/powerpoint/2010/main" val="31324704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The Development of the Brooklyn-Queens Demand Management (BQDM) Program </a:t>
            </a:r>
          </a:p>
        </p:txBody>
      </p:sp>
      <p:sp>
        <p:nvSpPr>
          <p:cNvPr id="2" name="Content Placeholder 1"/>
          <p:cNvSpPr>
            <a:spLocks noGrp="1"/>
          </p:cNvSpPr>
          <p:nvPr>
            <p:ph sz="quarter" idx="13"/>
          </p:nvPr>
        </p:nvSpPr>
        <p:spPr>
          <a:xfrm>
            <a:off x="4282089" y="960333"/>
            <a:ext cx="4528009" cy="3618811"/>
          </a:xfrm>
        </p:spPr>
        <p:txBody>
          <a:bodyPr vert="horz" lIns="68580" tIns="0" rIns="68580" bIns="0" rtlCol="0">
            <a:noAutofit/>
          </a:bodyPr>
          <a:lstStyle/>
          <a:p>
            <a:r>
              <a:rPr lang="en-US" sz="900" dirty="0">
                <a:latin typeface="Calibri" panose="020F0502020204030204" pitchFamily="34" charset="0"/>
              </a:rPr>
              <a:t>BQDM Non-Wires Alternative</a:t>
            </a:r>
          </a:p>
          <a:p>
            <a:pPr lvl="2"/>
            <a:r>
              <a:rPr lang="en-US" sz="788" dirty="0">
                <a:latin typeface="Calibri Light" panose="020F0302020204030204" pitchFamily="34" charset="0"/>
              </a:rPr>
              <a:t>In the summer of 2014, Consolidated Edison (Con Edison) realized increasing demand in three Brooklyn-Queens neighborhoods: Ridgewood, Richmond Hill and Crown Heights would overload electric sub-transmission feeders serving the Brownsville No.1 and No. 2 substations. Expansion of the existing substation infrastructure was expected cost ratepayers $1.2 billion. Con Edison proposed the Brooklyn-Queen Demand Management (BQDM) Program</a:t>
            </a:r>
            <a:r>
              <a:rPr lang="en-US" sz="788" baseline="30000" dirty="0">
                <a:latin typeface="Calibri Light" panose="020F0302020204030204" pitchFamily="34" charset="0"/>
              </a:rPr>
              <a:t>1</a:t>
            </a:r>
            <a:r>
              <a:rPr lang="en-US" sz="788" dirty="0">
                <a:latin typeface="Calibri Light" panose="020F0302020204030204" pitchFamily="34" charset="0"/>
              </a:rPr>
              <a:t> as a  non-wires alternative to defer building the substation until 2026.</a:t>
            </a:r>
          </a:p>
          <a:p>
            <a:pPr lvl="2"/>
            <a:r>
              <a:rPr lang="en-US" sz="788" dirty="0">
                <a:latin typeface="Calibri Light" panose="020F0302020204030204" pitchFamily="34" charset="0"/>
              </a:rPr>
              <a:t>During the 2017 and 2018 summer seasons, the BQDM program will replace the existing Con Edison Commercial System Relief Program (CSRP) in the designated neighborhoods. BQDM makes use of $200 million for  incentive programs to defer the upgrade and provide system relief over the 2017 and 2018 summer seasons through a menu of Customer Side and non-traditional Utility Side Solutions.</a:t>
            </a:r>
          </a:p>
          <a:p>
            <a:pPr lvl="3">
              <a:buSzPct val="100000"/>
            </a:pPr>
            <a:r>
              <a:rPr lang="en-US" sz="788" dirty="0">
                <a:latin typeface="Calibri Light" panose="020F0302020204030204" pitchFamily="34" charset="0"/>
              </a:rPr>
              <a:t>Customer side solutions (41 MW, $150 million)</a:t>
            </a:r>
          </a:p>
          <a:p>
            <a:pPr lvl="3">
              <a:buSzPct val="100000"/>
            </a:pPr>
            <a:r>
              <a:rPr lang="en-US" sz="788" dirty="0">
                <a:latin typeface="Calibri Light" panose="020F0302020204030204" pitchFamily="34" charset="0"/>
              </a:rPr>
              <a:t>Utility side solutions (11MW, $50 million)</a:t>
            </a:r>
          </a:p>
          <a:p>
            <a:pPr lvl="2">
              <a:buSzPct val="100000"/>
            </a:pPr>
            <a:r>
              <a:rPr lang="en-US" sz="788" dirty="0">
                <a:latin typeface="Calibri Light" panose="020F0302020204030204" pitchFamily="34" charset="0"/>
              </a:rPr>
              <a:t> An additional 17 MW of relief will be provided from traditional utility infrastructure investment, totaling 69 MW of load reduction from the program. Con Edison utility expenditures for BQDM will be treated as 10 year capital assets with regulated return and performance incentives. The CSRP demand response program will continue to run outside of BQDM neighborhoods. </a:t>
            </a:r>
          </a:p>
          <a:p>
            <a:pPr lvl="2">
              <a:buSzPct val="100000"/>
            </a:pPr>
            <a:r>
              <a:rPr lang="en-US" sz="788" dirty="0">
                <a:latin typeface="Calibri Light" panose="020F0302020204030204" pitchFamily="34" charset="0"/>
              </a:rPr>
              <a:t>In addition to CSRP, Con Edison also runs a Distribution Load Relief Program (DLRP). Customers enrolled in DLRP can also participate in NYISO wholesale market DR programs in addition to BQDM DR, however in the case of an event BQDM activation must take priority.</a:t>
            </a:r>
          </a:p>
          <a:p>
            <a:pPr lvl="2">
              <a:buSzPct val="100000"/>
            </a:pPr>
            <a:endParaRPr lang="en-US" sz="788" dirty="0">
              <a:latin typeface="Calibri Light" panose="020F0302020204030204" pitchFamily="34" charset="0"/>
            </a:endParaRPr>
          </a:p>
          <a:p>
            <a:pPr lvl="2">
              <a:buSzPct val="100000"/>
            </a:pPr>
            <a:endParaRPr lang="en-US" sz="788" dirty="0">
              <a:latin typeface="Calibri Light" panose="020F0302020204030204" pitchFamily="34" charset="0"/>
            </a:endParaRPr>
          </a:p>
          <a:p>
            <a:pPr lvl="2">
              <a:buSzPct val="100000"/>
            </a:pPr>
            <a:endParaRPr lang="en-US" sz="788" dirty="0">
              <a:latin typeface="Calibri Light" panose="020F0302020204030204" pitchFamily="34" charset="0"/>
            </a:endParaRPr>
          </a:p>
          <a:p>
            <a:pPr lvl="2"/>
            <a:r>
              <a:rPr lang="en-US" sz="525" dirty="0">
                <a:latin typeface="Calibri Light" panose="020F0302020204030204" pitchFamily="34" charset="0"/>
              </a:rPr>
              <a:t>e</a:t>
            </a:r>
          </a:p>
        </p:txBody>
      </p:sp>
      <p:sp>
        <p:nvSpPr>
          <p:cNvPr id="12" name="TextBox 11"/>
          <p:cNvSpPr txBox="1"/>
          <p:nvPr/>
        </p:nvSpPr>
        <p:spPr>
          <a:xfrm>
            <a:off x="332185" y="4579145"/>
            <a:ext cx="3639740" cy="142875"/>
          </a:xfrm>
          <a:prstGeom prst="rect">
            <a:avLst/>
          </a:prstGeom>
          <a:noFill/>
        </p:spPr>
        <p:txBody>
          <a:bodyPr wrap="square" lIns="68580" tIns="0" rIns="68580" bIns="0" rtlCol="0" anchor="ctr" anchorCtr="0">
            <a:noAutofit/>
          </a:bodyPr>
          <a:lstStyle/>
          <a:p>
            <a:pPr algn="just" defTabSz="685757">
              <a:buClr>
                <a:srgbClr val="0F2B4B"/>
              </a:buClr>
            </a:pPr>
            <a:r>
              <a:rPr lang="en-GB" sz="600" baseline="30000" dirty="0">
                <a:solidFill>
                  <a:srgbClr val="69A5D6"/>
                </a:solidFill>
                <a:latin typeface="Calibri Light"/>
              </a:rPr>
              <a:t>1 </a:t>
            </a:r>
            <a:r>
              <a:rPr lang="en-US" sz="600" dirty="0">
                <a:solidFill>
                  <a:srgbClr val="69A5D6"/>
                </a:solidFill>
                <a:latin typeface="Calibri Light"/>
              </a:rPr>
              <a:t>New York State Department of Public Service </a:t>
            </a:r>
            <a:r>
              <a:rPr lang="en-GB" sz="600" dirty="0">
                <a:solidFill>
                  <a:srgbClr val="69A5D6"/>
                </a:solidFill>
                <a:latin typeface="Calibri Light"/>
              </a:rPr>
              <a:t>Case 14-E-0302 </a:t>
            </a:r>
          </a:p>
        </p:txBody>
      </p:sp>
      <p:grpSp>
        <p:nvGrpSpPr>
          <p:cNvPr id="47" name="Group 46"/>
          <p:cNvGrpSpPr/>
          <p:nvPr/>
        </p:nvGrpSpPr>
        <p:grpSpPr>
          <a:xfrm>
            <a:off x="482002" y="1263153"/>
            <a:ext cx="3402542" cy="2941044"/>
            <a:chOff x="766528" y="2206808"/>
            <a:chExt cx="4536723" cy="3921392"/>
          </a:xfrm>
        </p:grpSpPr>
        <p:pic>
          <p:nvPicPr>
            <p:cNvPr id="48" name="Picture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1648" y="2909561"/>
              <a:ext cx="954613" cy="716684"/>
            </a:xfrm>
            <a:prstGeom prst="rect">
              <a:avLst/>
            </a:prstGeom>
          </p:spPr>
        </p:pic>
        <p:grpSp>
          <p:nvGrpSpPr>
            <p:cNvPr id="49" name="Group 48"/>
            <p:cNvGrpSpPr/>
            <p:nvPr/>
          </p:nvGrpSpPr>
          <p:grpSpPr>
            <a:xfrm>
              <a:off x="2431791" y="3543698"/>
              <a:ext cx="1150726" cy="793556"/>
              <a:chOff x="676150" y="3478746"/>
              <a:chExt cx="1150726" cy="793556"/>
            </a:xfrm>
          </p:grpSpPr>
          <p:pic>
            <p:nvPicPr>
              <p:cNvPr id="76" name="Picture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1678" y="3587053"/>
                <a:ext cx="688005" cy="685249"/>
              </a:xfrm>
              <a:prstGeom prst="rect">
                <a:avLst/>
              </a:prstGeom>
            </p:spPr>
          </p:pic>
          <p:sp>
            <p:nvSpPr>
              <p:cNvPr id="77" name="TextBox 76"/>
              <p:cNvSpPr txBox="1"/>
              <p:nvPr/>
            </p:nvSpPr>
            <p:spPr>
              <a:xfrm>
                <a:off x="676150" y="3478746"/>
                <a:ext cx="1150726" cy="138500"/>
              </a:xfrm>
              <a:prstGeom prst="rect">
                <a:avLst/>
              </a:prstGeom>
              <a:noFill/>
            </p:spPr>
            <p:txBody>
              <a:bodyPr wrap="square" lIns="0" tIns="0" rIns="0" bIns="0" rtlCol="0">
                <a:spAutoFit/>
              </a:bodyPr>
              <a:lstStyle/>
              <a:p>
                <a:pPr algn="ctr" defTabSz="685757">
                  <a:buClr>
                    <a:srgbClr val="0F2B4B"/>
                  </a:buClr>
                </a:pPr>
                <a:r>
                  <a:rPr lang="en-US" sz="675" b="1" dirty="0">
                    <a:ln w="0"/>
                    <a:solidFill>
                      <a:srgbClr val="0F2B4B"/>
                    </a:solidFill>
                    <a:latin typeface="Calibri Light"/>
                  </a:rPr>
                  <a:t>Aggregator</a:t>
                </a:r>
              </a:p>
            </p:txBody>
          </p:sp>
        </p:grpSp>
        <p:sp>
          <p:nvSpPr>
            <p:cNvPr id="50" name="Rectangle 49"/>
            <p:cNvSpPr/>
            <p:nvPr/>
          </p:nvSpPr>
          <p:spPr>
            <a:xfrm>
              <a:off x="1419656" y="4715294"/>
              <a:ext cx="3173160" cy="1412906"/>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lIns="40500" tIns="40500" rIns="40500" bIns="40500" rtlCol="0" anchor="t"/>
            <a:lstStyle/>
            <a:p>
              <a:pPr algn="ctr" defTabSz="685757">
                <a:buClr>
                  <a:srgbClr val="0F2B4B"/>
                </a:buClr>
              </a:pPr>
              <a:r>
                <a:rPr lang="en-US" sz="675" b="1" dirty="0">
                  <a:solidFill>
                    <a:srgbClr val="0F2B4B"/>
                  </a:solidFill>
                  <a:latin typeface="Calibri Light"/>
                </a:rPr>
                <a:t>Distributed Energy Resources in BQDM Territory</a:t>
              </a:r>
            </a:p>
          </p:txBody>
        </p:sp>
        <p:sp>
          <p:nvSpPr>
            <p:cNvPr id="51" name="Rectangle 50"/>
            <p:cNvSpPr/>
            <p:nvPr/>
          </p:nvSpPr>
          <p:spPr>
            <a:xfrm>
              <a:off x="1588952" y="4958751"/>
              <a:ext cx="1316872" cy="270933"/>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40500" tIns="40500" rIns="40500" bIns="40500" rtlCol="0" anchor="ctr"/>
            <a:lstStyle/>
            <a:p>
              <a:pPr algn="ctr" defTabSz="685757">
                <a:buClr>
                  <a:srgbClr val="0F2B4B"/>
                </a:buClr>
              </a:pPr>
              <a:r>
                <a:rPr lang="en-US" sz="675" dirty="0">
                  <a:solidFill>
                    <a:prstClr val="white"/>
                  </a:solidFill>
                  <a:latin typeface="Calibri Light"/>
                </a:rPr>
                <a:t>Wholesale Services</a:t>
              </a:r>
            </a:p>
          </p:txBody>
        </p:sp>
        <p:sp>
          <p:nvSpPr>
            <p:cNvPr id="52" name="Rectangle 51"/>
            <p:cNvSpPr/>
            <p:nvPr/>
          </p:nvSpPr>
          <p:spPr>
            <a:xfrm>
              <a:off x="3170870" y="4958751"/>
              <a:ext cx="1316872" cy="270933"/>
            </a:xfrm>
            <a:prstGeom prst="rect">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lIns="40500" tIns="40500" rIns="40500" bIns="40500" rtlCol="0" anchor="ctr"/>
            <a:lstStyle/>
            <a:p>
              <a:pPr algn="ctr" defTabSz="685757">
                <a:buClr>
                  <a:srgbClr val="0F2B4B"/>
                </a:buClr>
              </a:pPr>
              <a:r>
                <a:rPr lang="en-US" sz="675" dirty="0">
                  <a:solidFill>
                    <a:prstClr val="white"/>
                  </a:solidFill>
                  <a:latin typeface="Calibri Light"/>
                </a:rPr>
                <a:t>Retail Services</a:t>
              </a:r>
            </a:p>
          </p:txBody>
        </p:sp>
        <p:cxnSp>
          <p:nvCxnSpPr>
            <p:cNvPr id="53" name="Connector: Elbow 52"/>
            <p:cNvCxnSpPr>
              <a:stCxn id="52" idx="3"/>
              <a:endCxn id="65" idx="3"/>
            </p:cNvCxnSpPr>
            <p:nvPr/>
          </p:nvCxnSpPr>
          <p:spPr>
            <a:xfrm flipV="1">
              <a:off x="4487742" y="3263292"/>
              <a:ext cx="658624" cy="1830925"/>
            </a:xfrm>
            <a:prstGeom prst="bentConnector3">
              <a:avLst>
                <a:gd name="adj1" fmla="val 146278"/>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4479098" y="3971132"/>
              <a:ext cx="824153" cy="276999"/>
            </a:xfrm>
            <a:prstGeom prst="rect">
              <a:avLst/>
            </a:prstGeom>
            <a:noFill/>
          </p:spPr>
          <p:txBody>
            <a:bodyPr wrap="square" lIns="0" tIns="0" rIns="0" bIns="0" rtlCol="0">
              <a:spAutoFit/>
            </a:bodyPr>
            <a:lstStyle/>
            <a:p>
              <a:pPr algn="r" defTabSz="685757">
                <a:buClr>
                  <a:srgbClr val="0F2B4B"/>
                </a:buClr>
              </a:pPr>
              <a:r>
                <a:rPr lang="en-US" sz="675" dirty="0">
                  <a:solidFill>
                    <a:srgbClr val="0F2B4B"/>
                  </a:solidFill>
                  <a:latin typeface="Calibri Light"/>
                </a:rPr>
                <a:t>Retail service direct to DSP</a:t>
              </a:r>
            </a:p>
          </p:txBody>
        </p:sp>
        <p:sp>
          <p:nvSpPr>
            <p:cNvPr id="55" name="TextBox 54"/>
            <p:cNvSpPr txBox="1"/>
            <p:nvPr/>
          </p:nvSpPr>
          <p:spPr>
            <a:xfrm>
              <a:off x="766528" y="4020771"/>
              <a:ext cx="1033429" cy="276999"/>
            </a:xfrm>
            <a:prstGeom prst="rect">
              <a:avLst/>
            </a:prstGeom>
            <a:noFill/>
          </p:spPr>
          <p:txBody>
            <a:bodyPr wrap="square" lIns="0" tIns="0" rIns="0" bIns="0" rtlCol="0">
              <a:spAutoFit/>
            </a:bodyPr>
            <a:lstStyle/>
            <a:p>
              <a:pPr defTabSz="685757">
                <a:buClr>
                  <a:srgbClr val="0F2B4B"/>
                </a:buClr>
              </a:pPr>
              <a:r>
                <a:rPr lang="en-US" sz="675" dirty="0">
                  <a:solidFill>
                    <a:srgbClr val="0F2B4B"/>
                  </a:solidFill>
                  <a:latin typeface="Calibri Light"/>
                </a:rPr>
                <a:t>Wholesale  service direct to ISO</a:t>
              </a:r>
            </a:p>
          </p:txBody>
        </p:sp>
        <p:cxnSp>
          <p:nvCxnSpPr>
            <p:cNvPr id="56" name="Connector: Elbow 55"/>
            <p:cNvCxnSpPr>
              <a:stCxn id="51" idx="1"/>
              <a:endCxn id="48" idx="1"/>
            </p:cNvCxnSpPr>
            <p:nvPr/>
          </p:nvCxnSpPr>
          <p:spPr>
            <a:xfrm rot="10800000">
              <a:off x="891648" y="3267904"/>
              <a:ext cx="697304" cy="1826315"/>
            </a:xfrm>
            <a:prstGeom prst="bentConnector3">
              <a:avLst>
                <a:gd name="adj1" fmla="val 13278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50" idx="0"/>
              <a:endCxn id="76" idx="2"/>
            </p:cNvCxnSpPr>
            <p:nvPr/>
          </p:nvCxnSpPr>
          <p:spPr>
            <a:xfrm flipV="1">
              <a:off x="3006236" y="4337254"/>
              <a:ext cx="5086" cy="37804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p:cNvCxnSpPr>
              <a:stCxn id="77" idx="0"/>
              <a:endCxn id="48" idx="3"/>
            </p:cNvCxnSpPr>
            <p:nvPr/>
          </p:nvCxnSpPr>
          <p:spPr>
            <a:xfrm rot="16200000" flipV="1">
              <a:off x="2288811" y="2825355"/>
              <a:ext cx="275795" cy="1160892"/>
            </a:xfrm>
            <a:prstGeom prst="bentConnector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p:cNvCxnSpPr>
              <a:stCxn id="77" idx="0"/>
              <a:endCxn id="65" idx="1"/>
            </p:cNvCxnSpPr>
            <p:nvPr/>
          </p:nvCxnSpPr>
          <p:spPr>
            <a:xfrm rot="5400000" flipH="1" flipV="1">
              <a:off x="3414664" y="2855783"/>
              <a:ext cx="280407" cy="1095428"/>
            </a:xfrm>
            <a:prstGeom prst="bentConnector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2897460" y="2922261"/>
              <a:ext cx="1014845" cy="276999"/>
            </a:xfrm>
            <a:prstGeom prst="rect">
              <a:avLst/>
            </a:prstGeom>
            <a:noFill/>
          </p:spPr>
          <p:txBody>
            <a:bodyPr wrap="square" lIns="0" tIns="0" rIns="0" bIns="0" rtlCol="0">
              <a:spAutoFit/>
            </a:bodyPr>
            <a:lstStyle/>
            <a:p>
              <a:pPr algn="r" defTabSz="685757">
                <a:buClr>
                  <a:srgbClr val="0F2B4B"/>
                </a:buClr>
              </a:pPr>
              <a:r>
                <a:rPr lang="en-US" sz="675" dirty="0">
                  <a:solidFill>
                    <a:srgbClr val="0F2B4B"/>
                  </a:solidFill>
                  <a:latin typeface="Calibri Light"/>
                </a:rPr>
                <a:t>Retail service provided to DSP</a:t>
              </a:r>
            </a:p>
          </p:txBody>
        </p:sp>
        <p:sp>
          <p:nvSpPr>
            <p:cNvPr id="61" name="TextBox 60"/>
            <p:cNvSpPr txBox="1"/>
            <p:nvPr/>
          </p:nvSpPr>
          <p:spPr>
            <a:xfrm>
              <a:off x="1901351" y="2914931"/>
              <a:ext cx="1251447" cy="276999"/>
            </a:xfrm>
            <a:prstGeom prst="rect">
              <a:avLst/>
            </a:prstGeom>
            <a:noFill/>
          </p:spPr>
          <p:txBody>
            <a:bodyPr wrap="square" lIns="0" tIns="0" rIns="0" bIns="0" rtlCol="0">
              <a:spAutoFit/>
            </a:bodyPr>
            <a:lstStyle/>
            <a:p>
              <a:pPr defTabSz="685757">
                <a:buClr>
                  <a:srgbClr val="0F2B4B"/>
                </a:buClr>
              </a:pPr>
              <a:r>
                <a:rPr lang="en-US" sz="675" dirty="0">
                  <a:solidFill>
                    <a:srgbClr val="0F2B4B"/>
                  </a:solidFill>
                  <a:latin typeface="Calibri Light"/>
                </a:rPr>
                <a:t>Wholesale service provided to ISO</a:t>
              </a:r>
            </a:p>
          </p:txBody>
        </p:sp>
        <p:sp>
          <p:nvSpPr>
            <p:cNvPr id="62" name="TextBox 61"/>
            <p:cNvSpPr txBox="1"/>
            <p:nvPr/>
          </p:nvSpPr>
          <p:spPr>
            <a:xfrm>
              <a:off x="1403481" y="2206808"/>
              <a:ext cx="3052702" cy="138500"/>
            </a:xfrm>
            <a:prstGeom prst="rect">
              <a:avLst/>
            </a:prstGeom>
            <a:noFill/>
          </p:spPr>
          <p:txBody>
            <a:bodyPr wrap="square" lIns="0" tIns="0" rIns="0" bIns="0" rtlCol="0">
              <a:spAutoFit/>
            </a:bodyPr>
            <a:lstStyle/>
            <a:p>
              <a:pPr algn="ctr" defTabSz="685757">
                <a:buClr>
                  <a:srgbClr val="0F2B4B"/>
                </a:buClr>
              </a:pPr>
              <a:r>
                <a:rPr lang="en-US" sz="675" dirty="0">
                  <a:solidFill>
                    <a:srgbClr val="0F2B4B"/>
                  </a:solidFill>
                  <a:latin typeface="Calibri Light"/>
                </a:rPr>
                <a:t>Wholesale service provided through DSP as a ‘super aggregator’</a:t>
              </a:r>
            </a:p>
          </p:txBody>
        </p:sp>
        <p:cxnSp>
          <p:nvCxnSpPr>
            <p:cNvPr id="63" name="Connector: Elbow 62"/>
            <p:cNvCxnSpPr>
              <a:stCxn id="65" idx="0"/>
              <a:endCxn id="64" idx="0"/>
            </p:cNvCxnSpPr>
            <p:nvPr/>
          </p:nvCxnSpPr>
          <p:spPr>
            <a:xfrm rot="16200000" flipV="1">
              <a:off x="2717432" y="1249784"/>
              <a:ext cx="507405" cy="3306678"/>
            </a:xfrm>
            <a:prstGeom prst="bentConnector3">
              <a:avLst>
                <a:gd name="adj1" fmla="val 16007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64" name="Picture 63"/>
            <p:cNvPicPr>
              <a:picLocks noChangeAspect="1"/>
            </p:cNvPicPr>
            <p:nvPr/>
          </p:nvPicPr>
          <p:blipFill>
            <a:blip r:embed="rId5"/>
            <a:stretch>
              <a:fillRect/>
            </a:stretch>
          </p:blipFill>
          <p:spPr>
            <a:xfrm>
              <a:off x="891647" y="2649420"/>
              <a:ext cx="852297" cy="248501"/>
            </a:xfrm>
            <a:prstGeom prst="rect">
              <a:avLst/>
            </a:prstGeom>
          </p:spPr>
        </p:pic>
        <p:pic>
          <p:nvPicPr>
            <p:cNvPr id="65" name="Picture 64" descr="http://upload.wikimedia.org/wikipedia/commons/thumb/0/0c/ConEd_logo.svg/1000px-ConEd_logo.svg.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02582" y="3156825"/>
              <a:ext cx="1043784" cy="212932"/>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0" descr="http://static1.squarespace.com/static/576030f4f8baf35dd2d9c21e/t/5762e28ab8a79b7fbaf6965d/1466546993131/?format=1500w"/>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49241" y="5913216"/>
              <a:ext cx="502211" cy="172401"/>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descr="http://www.greencharge.net/wp-content/uploads/2016/07/GC_logo-news-large-2-1030x1030.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6354" t="20032" r="6038" b="21119"/>
            <a:stretch/>
          </p:blipFill>
          <p:spPr bwMode="auto">
            <a:xfrm>
              <a:off x="2457820" y="5594197"/>
              <a:ext cx="439640" cy="29531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 descr="http://events.cleantech.com/wp-content/uploads/2014/02/stem-logo-orang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55666" y="5948777"/>
              <a:ext cx="342746" cy="115391"/>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0" descr="Digital Energy's Logo"/>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244251" y="5353616"/>
              <a:ext cx="350544" cy="19654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18" descr="http://www.marketwire.com/library/MwGo/2016/3/3/11G085878/341134_Tarsier_Logo1-e44082c4-3598-47f7-9935-dc46f10fcfe4.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912306" y="5932984"/>
              <a:ext cx="353600" cy="15263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descr="http://university.enernoc.com/wp-content/uploads/2015/03/EnerNOClogo_Basic.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627934" y="5696847"/>
              <a:ext cx="640085" cy="11331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8" descr="https://www.directenergy.com/images/about/de-plenti.pn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20573" r="54741" b="25407"/>
            <a:stretch/>
          </p:blipFill>
          <p:spPr bwMode="auto">
            <a:xfrm>
              <a:off x="2825353" y="5353616"/>
              <a:ext cx="483284" cy="210226"/>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p:cNvPicPr/>
            <p:nvPr/>
          </p:nvPicPr>
          <p:blipFill rotWithShape="1">
            <a:blip r:embed="rId14"/>
            <a:srcRect l="59557" t="8291" r="34786" b="88724"/>
            <a:stretch/>
          </p:blipFill>
          <p:spPr bwMode="auto">
            <a:xfrm>
              <a:off x="3630202" y="5375529"/>
              <a:ext cx="777804" cy="133592"/>
            </a:xfrm>
            <a:prstGeom prst="rect">
              <a:avLst/>
            </a:prstGeom>
            <a:ln>
              <a:noFill/>
            </a:ln>
            <a:extLst>
              <a:ext uri="{53640926-AAD7-44D8-BBD7-CCE9431645EC}">
                <a14:shadowObscured xmlns:a14="http://schemas.microsoft.com/office/drawing/2010/main"/>
              </a:ext>
            </a:extLst>
          </p:spPr>
        </p:pic>
        <p:sp>
          <p:nvSpPr>
            <p:cNvPr id="74" name="Rectangle 73"/>
            <p:cNvSpPr/>
            <p:nvPr/>
          </p:nvSpPr>
          <p:spPr>
            <a:xfrm>
              <a:off x="3107304" y="5614619"/>
              <a:ext cx="1517169" cy="261611"/>
            </a:xfrm>
            <a:prstGeom prst="rect">
              <a:avLst/>
            </a:prstGeom>
          </p:spPr>
          <p:txBody>
            <a:bodyPr wrap="square">
              <a:spAutoFit/>
            </a:bodyPr>
            <a:lstStyle/>
            <a:p>
              <a:pPr defTabSz="685757">
                <a:buClr>
                  <a:srgbClr val="0F2B4B"/>
                </a:buClr>
              </a:pPr>
              <a:r>
                <a:rPr lang="en-US" sz="675" b="1" dirty="0" err="1">
                  <a:solidFill>
                    <a:srgbClr val="252525"/>
                  </a:solidFill>
                  <a:latin typeface="Calibri Light"/>
                </a:rPr>
                <a:t>Innoventive</a:t>
              </a:r>
              <a:r>
                <a:rPr lang="en-US" sz="675" b="1" dirty="0">
                  <a:solidFill>
                    <a:srgbClr val="252525"/>
                  </a:solidFill>
                  <a:latin typeface="Calibri Light"/>
                </a:rPr>
                <a:t> Power LLC  </a:t>
              </a:r>
              <a:endParaRPr lang="en-US" sz="675" b="1" dirty="0">
                <a:solidFill>
                  <a:srgbClr val="404040"/>
                </a:solidFill>
                <a:latin typeface="Calibri Light"/>
              </a:endParaRPr>
            </a:p>
          </p:txBody>
        </p:sp>
        <p:pic>
          <p:nvPicPr>
            <p:cNvPr id="75" name="Picture 12" descr="den logo slogan 0914"/>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590695" y="5378274"/>
              <a:ext cx="418526" cy="1307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8" name="Group 77"/>
          <p:cNvGrpSpPr/>
          <p:nvPr/>
        </p:nvGrpSpPr>
        <p:grpSpPr>
          <a:xfrm>
            <a:off x="332185" y="953100"/>
            <a:ext cx="3527590" cy="268479"/>
            <a:chOff x="442913" y="1341438"/>
            <a:chExt cx="11306175" cy="296711"/>
          </a:xfrm>
        </p:grpSpPr>
        <p:cxnSp>
          <p:nvCxnSpPr>
            <p:cNvPr id="79" name="Straight Connector 78"/>
            <p:cNvCxnSpPr/>
            <p:nvPr/>
          </p:nvCxnSpPr>
          <p:spPr>
            <a:xfrm>
              <a:off x="442913" y="1632477"/>
              <a:ext cx="11306175" cy="0"/>
            </a:xfrm>
            <a:prstGeom prst="line">
              <a:avLst/>
            </a:prstGeom>
            <a:ln w="127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442913" y="1341438"/>
              <a:ext cx="11306175" cy="296711"/>
            </a:xfrm>
            <a:prstGeom prst="rect">
              <a:avLst/>
            </a:prstGeom>
            <a:noFill/>
          </p:spPr>
          <p:txBody>
            <a:bodyPr wrap="square" lIns="0" tIns="0" rIns="0" bIns="0" rtlCol="0" anchor="ctr" anchorCtr="0">
              <a:noAutofit/>
            </a:bodyPr>
            <a:lstStyle/>
            <a:p>
              <a:pPr algn="just" defTabSz="685757">
                <a:buClr>
                  <a:srgbClr val="0F2B4B"/>
                </a:buClr>
              </a:pPr>
              <a:r>
                <a:rPr lang="en-GB" sz="1050" b="1" dirty="0">
                  <a:solidFill>
                    <a:srgbClr val="69A5D6"/>
                  </a:solidFill>
                  <a:latin typeface="Calibri Light"/>
                </a:rPr>
                <a:t>Wholesale and Retail Market Relationships and Coordination</a:t>
              </a:r>
            </a:p>
          </p:txBody>
        </p:sp>
      </p:grpSp>
      <p:sp>
        <p:nvSpPr>
          <p:cNvPr id="81" name="Rectangle 80"/>
          <p:cNvSpPr/>
          <p:nvPr/>
        </p:nvSpPr>
        <p:spPr>
          <a:xfrm>
            <a:off x="2517992" y="4569791"/>
            <a:ext cx="996908" cy="161583"/>
          </a:xfrm>
          <a:prstGeom prst="rect">
            <a:avLst/>
          </a:prstGeom>
          <a:noFill/>
        </p:spPr>
        <p:txBody>
          <a:bodyPr wrap="square" lIns="0" tIns="0" rIns="0" bIns="0" rtlCol="0" anchor="ctr" anchorCtr="0">
            <a:noAutofit/>
          </a:bodyPr>
          <a:lstStyle/>
          <a:p>
            <a:pPr algn="just" defTabSz="685757">
              <a:buClr>
                <a:srgbClr val="0F2B4B"/>
              </a:buClr>
            </a:pPr>
            <a:r>
              <a:rPr lang="en-US" sz="600" dirty="0">
                <a:solidFill>
                  <a:srgbClr val="69A5D6"/>
                </a:solidFill>
                <a:latin typeface="Calibri Light"/>
              </a:rPr>
              <a:t>*Distributed System Platform</a:t>
            </a:r>
          </a:p>
        </p:txBody>
      </p:sp>
    </p:spTree>
    <p:extLst>
      <p:ext uri="{BB962C8B-B14F-4D97-AF65-F5344CB8AC3E}">
        <p14:creationId xmlns:p14="http://schemas.microsoft.com/office/powerpoint/2010/main" val="38214984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332100" y="1521477"/>
            <a:ext cx="3387570" cy="3050688"/>
          </a:xfrm>
        </p:spPr>
        <p:txBody>
          <a:bodyPr/>
          <a:lstStyle/>
          <a:p>
            <a:pPr lvl="3">
              <a:buSzPct val="100000"/>
            </a:pPr>
            <a:r>
              <a:rPr lang="en-US" sz="900" dirty="0">
                <a:latin typeface="Calibri Light" panose="020F0302020204030204" pitchFamily="34" charset="0"/>
              </a:rPr>
              <a:t>Green Mountain Power (GMP), a 265,000-customer Vermont utility and subsidiary of Canadian energy company Gaz </a:t>
            </a:r>
            <a:r>
              <a:rPr lang="en-US" sz="900" dirty="0" err="1">
                <a:latin typeface="Calibri Light" panose="020F0302020204030204" pitchFamily="34" charset="0"/>
              </a:rPr>
              <a:t>Métro</a:t>
            </a:r>
            <a:r>
              <a:rPr lang="en-US" sz="900" dirty="0">
                <a:latin typeface="Calibri Light" panose="020F0302020204030204" pitchFamily="34" charset="0"/>
              </a:rPr>
              <a:t>, partnered with Tesla to offer approximately 500 7-kWh energy storage systems to its residential customers</a:t>
            </a:r>
          </a:p>
          <a:p>
            <a:pPr lvl="3">
              <a:buSzPct val="100000"/>
            </a:pPr>
            <a:r>
              <a:rPr lang="en-US" sz="900" dirty="0">
                <a:latin typeface="Calibri Light" panose="020F0302020204030204" pitchFamily="34" charset="0"/>
              </a:rPr>
              <a:t>Customers have three options:</a:t>
            </a:r>
          </a:p>
          <a:p>
            <a:pPr lvl="4">
              <a:buSzPct val="100000"/>
            </a:pPr>
            <a:r>
              <a:rPr lang="en-US" sz="900" dirty="0">
                <a:latin typeface="Calibri Light" panose="020F0302020204030204" pitchFamily="34" charset="0"/>
              </a:rPr>
              <a:t>Option 1: Buy the system outright and maintain full control</a:t>
            </a:r>
          </a:p>
          <a:p>
            <a:pPr lvl="4">
              <a:buSzPct val="100000"/>
            </a:pPr>
            <a:r>
              <a:rPr lang="en-US" sz="900" dirty="0">
                <a:latin typeface="Calibri Light" panose="020F0302020204030204" pitchFamily="34" charset="0"/>
              </a:rPr>
              <a:t>Option 2: Buy the system outright and grant access to GMP in return for a monthly bill credit</a:t>
            </a:r>
          </a:p>
          <a:p>
            <a:pPr lvl="4">
              <a:buSzPct val="100000"/>
            </a:pPr>
            <a:r>
              <a:rPr lang="en-US" sz="900" dirty="0">
                <a:latin typeface="Calibri Light" panose="020F0302020204030204" pitchFamily="34" charset="0"/>
              </a:rPr>
              <a:t>Option 3: Lease the system from GMP through a rate rider and allow GMP full access</a:t>
            </a:r>
          </a:p>
          <a:p>
            <a:pPr lvl="3">
              <a:buSzPct val="100000"/>
            </a:pPr>
            <a:r>
              <a:rPr lang="en-US" sz="900" dirty="0">
                <a:latin typeface="Calibri Light" panose="020F0302020204030204" pitchFamily="34" charset="0"/>
              </a:rPr>
              <a:t>During non-outage conditions, GMP will aggregate and dispatch the systems to mitigate capacity and transmission costs, in addition to realizing energy arbitrage opportunities when available (option 3 only)</a:t>
            </a:r>
          </a:p>
          <a:p>
            <a:pPr lvl="3">
              <a:buSzPct val="100000"/>
            </a:pPr>
            <a:endParaRPr lang="en-US" sz="900" dirty="0">
              <a:latin typeface="Calibri Light" panose="020F0302020204030204" pitchFamily="34" charset="0"/>
            </a:endParaRPr>
          </a:p>
        </p:txBody>
      </p:sp>
      <p:sp>
        <p:nvSpPr>
          <p:cNvPr id="3" name="Title 2"/>
          <p:cNvSpPr>
            <a:spLocks noGrp="1"/>
          </p:cNvSpPr>
          <p:nvPr>
            <p:ph type="title"/>
          </p:nvPr>
        </p:nvSpPr>
        <p:spPr/>
        <p:txBody>
          <a:bodyPr/>
          <a:lstStyle/>
          <a:p>
            <a:r>
              <a:rPr lang="en-US" dirty="0"/>
              <a:t>Green Mountain Power Stacks Benefits to Improve Economics of Residential Energy Storage</a:t>
            </a:r>
          </a:p>
        </p:txBody>
      </p:sp>
      <p:graphicFrame>
        <p:nvGraphicFramePr>
          <p:cNvPr id="4" name="Content Placeholder 3"/>
          <p:cNvGraphicFramePr>
            <a:graphicFrameLocks/>
          </p:cNvGraphicFramePr>
          <p:nvPr>
            <p:extLst>
              <p:ext uri="{D42A27DB-BD31-4B8C-83A1-F6EECF244321}">
                <p14:modId xmlns:p14="http://schemas.microsoft.com/office/powerpoint/2010/main" val="2940864699"/>
              </p:ext>
            </p:extLst>
          </p:nvPr>
        </p:nvGraphicFramePr>
        <p:xfrm>
          <a:off x="4182114" y="1261275"/>
          <a:ext cx="4627986" cy="3310890"/>
        </p:xfrm>
        <a:graphic>
          <a:graphicData uri="http://schemas.openxmlformats.org/drawingml/2006/table">
            <a:tbl>
              <a:tblPr firstRow="1" firstCol="1" bandRow="1"/>
              <a:tblGrid>
                <a:gridCol w="891540">
                  <a:extLst>
                    <a:ext uri="{9D8B030D-6E8A-4147-A177-3AD203B41FA5}">
                      <a16:colId xmlns:a16="http://schemas.microsoft.com/office/drawing/2014/main" val="3881528373"/>
                    </a:ext>
                  </a:extLst>
                </a:gridCol>
                <a:gridCol w="867389">
                  <a:extLst>
                    <a:ext uri="{9D8B030D-6E8A-4147-A177-3AD203B41FA5}">
                      <a16:colId xmlns:a16="http://schemas.microsoft.com/office/drawing/2014/main" val="1141464118"/>
                    </a:ext>
                  </a:extLst>
                </a:gridCol>
                <a:gridCol w="1401167">
                  <a:extLst>
                    <a:ext uri="{9D8B030D-6E8A-4147-A177-3AD203B41FA5}">
                      <a16:colId xmlns:a16="http://schemas.microsoft.com/office/drawing/2014/main" val="1498103335"/>
                    </a:ext>
                  </a:extLst>
                </a:gridCol>
                <a:gridCol w="1467890">
                  <a:extLst>
                    <a:ext uri="{9D8B030D-6E8A-4147-A177-3AD203B41FA5}">
                      <a16:colId xmlns:a16="http://schemas.microsoft.com/office/drawing/2014/main" val="1674978841"/>
                    </a:ext>
                  </a:extLst>
                </a:gridCol>
              </a:tblGrid>
              <a:tr h="278130">
                <a:tc>
                  <a:txBody>
                    <a:bodyPr/>
                    <a:lstStyle/>
                    <a:p>
                      <a:endParaRPr lang="en-US" sz="700" dirty="0"/>
                    </a:p>
                  </a:txBody>
                  <a:tcPr marL="68580" marR="68580" marT="34290" marB="34290">
                    <a:solidFill>
                      <a:schemeClr val="tx1"/>
                    </a:solidFill>
                  </a:tcPr>
                </a:tc>
                <a:tc>
                  <a:txBody>
                    <a:bodyPr/>
                    <a:lstStyle/>
                    <a:p>
                      <a:r>
                        <a:rPr lang="en-US" sz="700" dirty="0">
                          <a:solidFill>
                            <a:schemeClr val="bg1"/>
                          </a:solidFill>
                        </a:rPr>
                        <a:t>Option 1</a:t>
                      </a:r>
                    </a:p>
                  </a:txBody>
                  <a:tcPr marL="68580" marR="68580" marT="34290" marB="34290">
                    <a:solidFill>
                      <a:schemeClr val="tx1"/>
                    </a:solidFill>
                  </a:tcPr>
                </a:tc>
                <a:tc>
                  <a:txBody>
                    <a:bodyPr/>
                    <a:lstStyle/>
                    <a:p>
                      <a:r>
                        <a:rPr lang="en-US" sz="700" dirty="0">
                          <a:solidFill>
                            <a:schemeClr val="bg1"/>
                          </a:solidFill>
                        </a:rPr>
                        <a:t>Option 2</a:t>
                      </a:r>
                    </a:p>
                  </a:txBody>
                  <a:tcPr marL="68580" marR="68580" marT="34290" marB="34290">
                    <a:solidFill>
                      <a:schemeClr val="tx1"/>
                    </a:solidFill>
                  </a:tcPr>
                </a:tc>
                <a:tc>
                  <a:txBody>
                    <a:bodyPr/>
                    <a:lstStyle/>
                    <a:p>
                      <a:r>
                        <a:rPr lang="en-US" sz="700" dirty="0">
                          <a:solidFill>
                            <a:schemeClr val="bg1"/>
                          </a:solidFill>
                        </a:rPr>
                        <a:t>Option 3</a:t>
                      </a:r>
                    </a:p>
                  </a:txBody>
                  <a:tcPr marL="68580" marR="68580" marT="34290" marB="34290">
                    <a:solidFill>
                      <a:schemeClr val="tx1"/>
                    </a:solidFill>
                  </a:tcPr>
                </a:tc>
                <a:extLst>
                  <a:ext uri="{0D108BD9-81ED-4DB2-BD59-A6C34878D82A}">
                    <a16:rowId xmlns:a16="http://schemas.microsoft.com/office/drawing/2014/main" val="2054322882"/>
                  </a:ext>
                </a:extLst>
              </a:tr>
              <a:tr h="278130">
                <a:tc>
                  <a:txBody>
                    <a:bodyPr/>
                    <a:lstStyle/>
                    <a:p>
                      <a:r>
                        <a:rPr lang="en-US" sz="700" dirty="0">
                          <a:solidFill>
                            <a:schemeClr val="bg1"/>
                          </a:solidFill>
                        </a:rPr>
                        <a:t>Projected No. Units</a:t>
                      </a:r>
                    </a:p>
                  </a:txBody>
                  <a:tcPr marL="68580" marR="68580" marT="34290" marB="34290">
                    <a:solidFill>
                      <a:schemeClr val="accent1"/>
                    </a:solidFill>
                  </a:tcPr>
                </a:tc>
                <a:tc>
                  <a:txBody>
                    <a:bodyPr/>
                    <a:lstStyle/>
                    <a:p>
                      <a:r>
                        <a:rPr lang="en-US" sz="700" dirty="0"/>
                        <a:t>75</a:t>
                      </a:r>
                    </a:p>
                  </a:txBody>
                  <a:tcPr marL="68580" marR="68580" marT="34290" marB="34290"/>
                </a:tc>
                <a:tc>
                  <a:txBody>
                    <a:bodyPr/>
                    <a:lstStyle/>
                    <a:p>
                      <a:r>
                        <a:rPr lang="en-US" sz="700" dirty="0"/>
                        <a:t>225</a:t>
                      </a:r>
                    </a:p>
                  </a:txBody>
                  <a:tcPr marL="68580" marR="68580" marT="34290" marB="34290"/>
                </a:tc>
                <a:tc>
                  <a:txBody>
                    <a:bodyPr/>
                    <a:lstStyle/>
                    <a:p>
                      <a:r>
                        <a:rPr lang="en-US" sz="700" dirty="0"/>
                        <a:t>200</a:t>
                      </a:r>
                    </a:p>
                  </a:txBody>
                  <a:tcPr marL="68580" marR="68580" marT="34290" marB="34290"/>
                </a:tc>
                <a:extLst>
                  <a:ext uri="{0D108BD9-81ED-4DB2-BD59-A6C34878D82A}">
                    <a16:rowId xmlns:a16="http://schemas.microsoft.com/office/drawing/2014/main" val="2156326252"/>
                  </a:ext>
                </a:extLst>
              </a:tr>
              <a:tr h="278130">
                <a:tc>
                  <a:txBody>
                    <a:bodyPr/>
                    <a:lstStyle/>
                    <a:p>
                      <a:r>
                        <a:rPr lang="en-US" sz="700" dirty="0">
                          <a:solidFill>
                            <a:schemeClr val="bg1"/>
                          </a:solidFill>
                        </a:rPr>
                        <a:t>Ownership</a:t>
                      </a:r>
                    </a:p>
                  </a:txBody>
                  <a:tcPr marL="68580" marR="68580" marT="34290" marB="34290">
                    <a:solidFill>
                      <a:schemeClr val="accent1"/>
                    </a:solidFill>
                  </a:tcPr>
                </a:tc>
                <a:tc>
                  <a:txBody>
                    <a:bodyPr/>
                    <a:lstStyle/>
                    <a:p>
                      <a:r>
                        <a:rPr lang="en-US" sz="700" dirty="0"/>
                        <a:t>End-customer</a:t>
                      </a:r>
                    </a:p>
                  </a:txBody>
                  <a:tcPr marL="68580" marR="68580" marT="34290" marB="34290"/>
                </a:tc>
                <a:tc>
                  <a:txBody>
                    <a:bodyPr/>
                    <a:lstStyle/>
                    <a:p>
                      <a:r>
                        <a:rPr lang="en-US" sz="700" dirty="0"/>
                        <a:t>End-customer</a:t>
                      </a:r>
                    </a:p>
                  </a:txBody>
                  <a:tcPr marL="68580" marR="68580" marT="34290" marB="34290"/>
                </a:tc>
                <a:tc>
                  <a:txBody>
                    <a:bodyPr/>
                    <a:lstStyle/>
                    <a:p>
                      <a:r>
                        <a:rPr lang="en-US" sz="700" dirty="0"/>
                        <a:t>GMP</a:t>
                      </a:r>
                    </a:p>
                  </a:txBody>
                  <a:tcPr marL="68580" marR="68580" marT="34290" marB="34290"/>
                </a:tc>
                <a:extLst>
                  <a:ext uri="{0D108BD9-81ED-4DB2-BD59-A6C34878D82A}">
                    <a16:rowId xmlns:a16="http://schemas.microsoft.com/office/drawing/2014/main" val="3427958480"/>
                  </a:ext>
                </a:extLst>
              </a:tr>
              <a:tr h="278130">
                <a:tc>
                  <a:txBody>
                    <a:bodyPr/>
                    <a:lstStyle/>
                    <a:p>
                      <a:r>
                        <a:rPr lang="en-US" sz="700" dirty="0">
                          <a:solidFill>
                            <a:schemeClr val="bg1"/>
                          </a:solidFill>
                        </a:rPr>
                        <a:t>Control</a:t>
                      </a:r>
                    </a:p>
                  </a:txBody>
                  <a:tcPr marL="68580" marR="68580" marT="34290" marB="34290">
                    <a:solidFill>
                      <a:schemeClr val="accent1"/>
                    </a:solidFill>
                  </a:tcPr>
                </a:tc>
                <a:tc>
                  <a:txBody>
                    <a:bodyPr/>
                    <a:lstStyle/>
                    <a:p>
                      <a:r>
                        <a:rPr lang="en-US" sz="700" dirty="0"/>
                        <a:t>End-customer</a:t>
                      </a:r>
                    </a:p>
                  </a:txBody>
                  <a:tcPr marL="68580" marR="68580" marT="34290" marB="34290"/>
                </a:tc>
                <a:tc>
                  <a:txBody>
                    <a:bodyPr/>
                    <a:lstStyle/>
                    <a:p>
                      <a:r>
                        <a:rPr lang="en-US" sz="700" dirty="0"/>
                        <a:t>Partial GMP Control</a:t>
                      </a:r>
                    </a:p>
                  </a:txBody>
                  <a:tcPr marL="68580" marR="68580" marT="34290" marB="34290"/>
                </a:tc>
                <a:tc>
                  <a:txBody>
                    <a:bodyPr/>
                    <a:lstStyle/>
                    <a:p>
                      <a:r>
                        <a:rPr lang="en-US" sz="700" dirty="0"/>
                        <a:t>GMP Control</a:t>
                      </a:r>
                    </a:p>
                  </a:txBody>
                  <a:tcPr marL="68580" marR="68580" marT="34290" marB="34290"/>
                </a:tc>
                <a:extLst>
                  <a:ext uri="{0D108BD9-81ED-4DB2-BD59-A6C34878D82A}">
                    <a16:rowId xmlns:a16="http://schemas.microsoft.com/office/drawing/2014/main" val="508456712"/>
                  </a:ext>
                </a:extLst>
              </a:tr>
              <a:tr h="868680">
                <a:tc>
                  <a:txBody>
                    <a:bodyPr/>
                    <a:lstStyle/>
                    <a:p>
                      <a:r>
                        <a:rPr lang="en-US" sz="700" dirty="0">
                          <a:solidFill>
                            <a:schemeClr val="bg1"/>
                          </a:solidFill>
                        </a:rPr>
                        <a:t>Utility Services</a:t>
                      </a:r>
                    </a:p>
                  </a:txBody>
                  <a:tcPr marL="68580" marR="68580" marT="34290" marB="34290">
                    <a:solidFill>
                      <a:schemeClr val="accent1"/>
                    </a:solidFill>
                  </a:tcPr>
                </a:tc>
                <a:tc>
                  <a:txBody>
                    <a:bodyPr/>
                    <a:lstStyle/>
                    <a:p>
                      <a:r>
                        <a:rPr lang="en-US" sz="700" dirty="0"/>
                        <a:t>None</a:t>
                      </a:r>
                    </a:p>
                  </a:txBody>
                  <a:tcPr marL="68580" marR="68580" marT="34290" marB="34290"/>
                </a:tc>
                <a:tc>
                  <a:txBody>
                    <a:bodyPr/>
                    <a:lstStyle/>
                    <a:p>
                      <a:r>
                        <a:rPr lang="en-US" sz="700" dirty="0"/>
                        <a:t>Dispatched to address peaks in Forward Capacity Market (FCM)  75% of the time;</a:t>
                      </a:r>
                      <a:endParaRPr lang="en-US" sz="700" baseline="0" dirty="0"/>
                    </a:p>
                    <a:p>
                      <a:r>
                        <a:rPr lang="en-US" sz="700" baseline="0" dirty="0"/>
                        <a:t>Dispatched to address peaks in </a:t>
                      </a:r>
                      <a:r>
                        <a:rPr lang="en-US" sz="700" dirty="0"/>
                        <a:t>Regional Network Service (RNS) 50% of the time</a:t>
                      </a:r>
                    </a:p>
                  </a:txBody>
                  <a:tcPr marL="68580" marR="68580" marT="34290" marB="34290"/>
                </a:tc>
                <a:tc>
                  <a:txBody>
                    <a:bodyPr/>
                    <a:lstStyle/>
                    <a:p>
                      <a:r>
                        <a:rPr lang="en-US" sz="700" dirty="0"/>
                        <a:t>Dispatched to address peaks in Forward Capacity Market (FCM)  100% of the time;</a:t>
                      </a:r>
                      <a:endParaRPr lang="en-US" sz="700" baseline="0" dirty="0"/>
                    </a:p>
                    <a:p>
                      <a:r>
                        <a:rPr lang="en-US" sz="700" baseline="0" dirty="0"/>
                        <a:t>Dispatched to address peaks in </a:t>
                      </a:r>
                      <a:r>
                        <a:rPr lang="en-US" sz="700" dirty="0"/>
                        <a:t>Regional Network Service (RNS) 75% of the time;</a:t>
                      </a:r>
                    </a:p>
                    <a:p>
                      <a:r>
                        <a:rPr lang="en-US" sz="700" dirty="0"/>
                        <a:t>Energy arbitrage when available</a:t>
                      </a:r>
                    </a:p>
                  </a:txBody>
                  <a:tcPr marL="68580" marR="68580" marT="34290" marB="34290"/>
                </a:tc>
                <a:extLst>
                  <a:ext uri="{0D108BD9-81ED-4DB2-BD59-A6C34878D82A}">
                    <a16:rowId xmlns:a16="http://schemas.microsoft.com/office/drawing/2014/main" val="846500384"/>
                  </a:ext>
                </a:extLst>
              </a:tr>
              <a:tr h="278130">
                <a:tc>
                  <a:txBody>
                    <a:bodyPr/>
                    <a:lstStyle/>
                    <a:p>
                      <a:r>
                        <a:rPr lang="en-US" sz="700" dirty="0">
                          <a:solidFill>
                            <a:schemeClr val="bg1"/>
                          </a:solidFill>
                        </a:rPr>
                        <a:t>Utility Benefits</a:t>
                      </a:r>
                    </a:p>
                  </a:txBody>
                  <a:tcPr marL="68580" marR="68580" marT="34290" marB="34290">
                    <a:solidFill>
                      <a:schemeClr val="accent1"/>
                    </a:solidFill>
                  </a:tcPr>
                </a:tc>
                <a:tc>
                  <a:txBody>
                    <a:bodyPr/>
                    <a:lstStyle/>
                    <a:p>
                      <a:r>
                        <a:rPr lang="en-US" sz="700" dirty="0"/>
                        <a:t>$0/year</a:t>
                      </a:r>
                    </a:p>
                  </a:txBody>
                  <a:tcPr marL="68580" marR="68580" marT="34290" marB="34290"/>
                </a:tc>
                <a:tc>
                  <a:txBody>
                    <a:bodyPr/>
                    <a:lstStyle/>
                    <a:p>
                      <a:r>
                        <a:rPr lang="en-US" sz="700" dirty="0"/>
                        <a:t>$81,000/year</a:t>
                      </a:r>
                    </a:p>
                  </a:txBody>
                  <a:tcPr marL="68580" marR="68580" marT="34290" marB="34290"/>
                </a:tc>
                <a:tc>
                  <a:txBody>
                    <a:bodyPr/>
                    <a:lstStyle/>
                    <a:p>
                      <a:r>
                        <a:rPr lang="en-US" sz="700" dirty="0"/>
                        <a:t>$124,000/year</a:t>
                      </a:r>
                    </a:p>
                  </a:txBody>
                  <a:tcPr marL="68580" marR="68580" marT="34290" marB="34290"/>
                </a:tc>
                <a:extLst>
                  <a:ext uri="{0D108BD9-81ED-4DB2-BD59-A6C34878D82A}">
                    <a16:rowId xmlns:a16="http://schemas.microsoft.com/office/drawing/2014/main" val="1268809722"/>
                  </a:ext>
                </a:extLst>
              </a:tr>
              <a:tr h="525780">
                <a:tc>
                  <a:txBody>
                    <a:bodyPr/>
                    <a:lstStyle/>
                    <a:p>
                      <a:r>
                        <a:rPr lang="en-US" sz="700" dirty="0">
                          <a:solidFill>
                            <a:schemeClr val="bg1"/>
                          </a:solidFill>
                        </a:rPr>
                        <a:t>Customer</a:t>
                      </a:r>
                      <a:r>
                        <a:rPr lang="en-US" sz="700" baseline="0" dirty="0">
                          <a:solidFill>
                            <a:schemeClr val="bg1"/>
                          </a:solidFill>
                        </a:rPr>
                        <a:t> Services</a:t>
                      </a:r>
                      <a:endParaRPr lang="en-US" sz="700" dirty="0">
                        <a:solidFill>
                          <a:schemeClr val="bg1"/>
                        </a:solidFill>
                      </a:endParaRPr>
                    </a:p>
                  </a:txBody>
                  <a:tcPr marL="68580" marR="68580" marT="34290" marB="34290">
                    <a:solidFill>
                      <a:schemeClr val="accent1"/>
                    </a:solidFill>
                  </a:tcPr>
                </a:tc>
                <a:tc>
                  <a:txBody>
                    <a:bodyPr/>
                    <a:lstStyle/>
                    <a:p>
                      <a:r>
                        <a:rPr lang="en-US" sz="700" dirty="0"/>
                        <a:t>Backup power, solar</a:t>
                      </a:r>
                      <a:r>
                        <a:rPr lang="en-US" sz="700" baseline="0" dirty="0"/>
                        <a:t> self-consumption, TOU shifting</a:t>
                      </a:r>
                      <a:endParaRPr lang="en-US" sz="700" dirty="0"/>
                    </a:p>
                  </a:txBody>
                  <a:tcPr marL="68580" marR="68580" marT="34290" marB="34290"/>
                </a:tc>
                <a:tc>
                  <a:txBody>
                    <a:bodyPr/>
                    <a:lstStyle/>
                    <a:p>
                      <a:r>
                        <a:rPr lang="en-US" sz="700" dirty="0"/>
                        <a:t>Backup power, solar</a:t>
                      </a:r>
                      <a:r>
                        <a:rPr lang="en-US" sz="700" baseline="0" dirty="0"/>
                        <a:t> self-consumption, TOU shifting [not mutually exclusive with utility services at all times]</a:t>
                      </a:r>
                      <a:endParaRPr lang="en-US" sz="700" dirty="0"/>
                    </a:p>
                  </a:txBody>
                  <a:tcPr marL="68580" marR="68580" marT="34290" marB="34290"/>
                </a:tc>
                <a:tc>
                  <a:txBody>
                    <a:bodyPr/>
                    <a:lstStyle/>
                    <a:p>
                      <a:r>
                        <a:rPr lang="en-US" sz="700" dirty="0"/>
                        <a:t>Backup power, solar</a:t>
                      </a:r>
                      <a:r>
                        <a:rPr lang="en-US" sz="700" baseline="0" dirty="0"/>
                        <a:t> self-consumption, TOU shifting [not mutually exclusive with utility services at all times]</a:t>
                      </a:r>
                      <a:endParaRPr lang="en-US" sz="700" dirty="0"/>
                    </a:p>
                  </a:txBody>
                  <a:tcPr marL="68580" marR="68580" marT="34290" marB="34290"/>
                </a:tc>
                <a:extLst>
                  <a:ext uri="{0D108BD9-81ED-4DB2-BD59-A6C34878D82A}">
                    <a16:rowId xmlns:a16="http://schemas.microsoft.com/office/drawing/2014/main" val="702411906"/>
                  </a:ext>
                </a:extLst>
              </a:tr>
              <a:tr h="525780">
                <a:tc>
                  <a:txBody>
                    <a:bodyPr/>
                    <a:lstStyle/>
                    <a:p>
                      <a:r>
                        <a:rPr lang="en-US" sz="700" dirty="0">
                          <a:solidFill>
                            <a:schemeClr val="bg1"/>
                          </a:solidFill>
                        </a:rPr>
                        <a:t>Customer</a:t>
                      </a:r>
                      <a:r>
                        <a:rPr lang="en-US" sz="700" baseline="0" dirty="0">
                          <a:solidFill>
                            <a:schemeClr val="bg1"/>
                          </a:solidFill>
                        </a:rPr>
                        <a:t> Costs/Benefits</a:t>
                      </a:r>
                      <a:endParaRPr lang="en-US" sz="700" dirty="0">
                        <a:solidFill>
                          <a:schemeClr val="bg1"/>
                        </a:solidFill>
                      </a:endParaRPr>
                    </a:p>
                  </a:txBody>
                  <a:tcPr marL="68580" marR="68580" marT="34290" marB="34290">
                    <a:solidFill>
                      <a:schemeClr val="accent1"/>
                    </a:solidFill>
                  </a:tcPr>
                </a:tc>
                <a:tc>
                  <a:txBody>
                    <a:bodyPr/>
                    <a:lstStyle/>
                    <a:p>
                      <a:pPr marL="0" marR="0" indent="0" defTabSz="914342" rtl="0" eaLnBrk="1" fontAlgn="auto" latinLnBrk="0" hangingPunct="1">
                        <a:lnSpc>
                          <a:spcPct val="100000"/>
                        </a:lnSpc>
                        <a:spcBef>
                          <a:spcPts val="0"/>
                        </a:spcBef>
                        <a:spcAft>
                          <a:spcPts val="0"/>
                        </a:spcAft>
                        <a:buClr>
                          <a:schemeClr val="tx1"/>
                        </a:buClr>
                        <a:buSzTx/>
                        <a:buFont typeface="Arial" pitchFamily="34" charset="0"/>
                        <a:buNone/>
                        <a:tabLst/>
                        <a:defRPr/>
                      </a:pPr>
                      <a:r>
                        <a:rPr lang="en-US" sz="700" dirty="0"/>
                        <a:t>$6,500</a:t>
                      </a:r>
                      <a:r>
                        <a:rPr lang="en-US" sz="700" baseline="0" dirty="0"/>
                        <a:t> plus installation costs paid by customer to GMP</a:t>
                      </a:r>
                    </a:p>
                  </a:txBody>
                  <a:tcPr marL="68580" marR="68580" marT="34290" marB="34290"/>
                </a:tc>
                <a:tc>
                  <a:txBody>
                    <a:bodyPr/>
                    <a:lstStyle/>
                    <a:p>
                      <a:r>
                        <a:rPr lang="en-US" sz="700" dirty="0"/>
                        <a:t>$6,500</a:t>
                      </a:r>
                      <a:r>
                        <a:rPr lang="en-US" sz="700" baseline="0" dirty="0"/>
                        <a:t> plus installation costs paid by customer to GMP;</a:t>
                      </a:r>
                    </a:p>
                    <a:p>
                      <a:r>
                        <a:rPr lang="en-US" sz="700" baseline="0" dirty="0"/>
                        <a:t>bill credit of $31.76/month received for 10 years</a:t>
                      </a:r>
                      <a:endParaRPr lang="en-US" sz="700" dirty="0"/>
                    </a:p>
                  </a:txBody>
                  <a:tcPr marL="68580" marR="68580" marT="34290" marB="34290"/>
                </a:tc>
                <a:tc>
                  <a:txBody>
                    <a:bodyPr/>
                    <a:lstStyle/>
                    <a:p>
                      <a:r>
                        <a:rPr lang="en-US" sz="700" dirty="0"/>
                        <a:t>No upfront cost;</a:t>
                      </a:r>
                    </a:p>
                    <a:p>
                      <a:r>
                        <a:rPr lang="en-US" sz="700" baseline="0" dirty="0"/>
                        <a:t>rate rider paid of $37.50/month paid for 10 years</a:t>
                      </a:r>
                      <a:endParaRPr lang="en-US" sz="700" dirty="0"/>
                    </a:p>
                  </a:txBody>
                  <a:tcPr marL="68580" marR="68580" marT="34290" marB="34290"/>
                </a:tc>
                <a:extLst>
                  <a:ext uri="{0D108BD9-81ED-4DB2-BD59-A6C34878D82A}">
                    <a16:rowId xmlns:a16="http://schemas.microsoft.com/office/drawing/2014/main" val="4154868659"/>
                  </a:ext>
                </a:extLst>
              </a:tr>
            </a:tbl>
          </a:graphicData>
        </a:graphic>
      </p:graphicFrame>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5271" y="976050"/>
            <a:ext cx="675659" cy="477301"/>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77274" y="1160338"/>
            <a:ext cx="793669" cy="108722"/>
          </a:xfrm>
          <a:prstGeom prst="rect">
            <a:avLst/>
          </a:prstGeom>
        </p:spPr>
      </p:pic>
      <p:pic>
        <p:nvPicPr>
          <p:cNvPr id="7" name="Picture 34" descr="Image result for spira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40742" y="1103443"/>
            <a:ext cx="615755" cy="165617"/>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4182114" y="953100"/>
            <a:ext cx="4629702" cy="3768920"/>
            <a:chOff x="442913" y="1270800"/>
            <a:chExt cx="11306175" cy="5025226"/>
          </a:xfrm>
        </p:grpSpPr>
        <p:sp>
          <p:nvSpPr>
            <p:cNvPr id="9" name="TextBox 8"/>
            <p:cNvSpPr txBox="1"/>
            <p:nvPr/>
          </p:nvSpPr>
          <p:spPr>
            <a:xfrm>
              <a:off x="442913" y="6105526"/>
              <a:ext cx="11306175" cy="190500"/>
            </a:xfrm>
            <a:prstGeom prst="rect">
              <a:avLst/>
            </a:prstGeom>
            <a:noFill/>
          </p:spPr>
          <p:txBody>
            <a:bodyPr wrap="square" lIns="0" tIns="0" rIns="0" bIns="0" rtlCol="0" anchor="ctr" anchorCtr="0">
              <a:noAutofit/>
            </a:bodyPr>
            <a:lstStyle/>
            <a:p>
              <a:r>
                <a:rPr lang="en-GB" sz="600" dirty="0">
                  <a:solidFill>
                    <a:schemeClr val="accent2"/>
                  </a:solidFill>
                </a:rPr>
                <a:t>Source: Green Mountain Power, GTM Research</a:t>
              </a:r>
            </a:p>
          </p:txBody>
        </p:sp>
        <p:grpSp>
          <p:nvGrpSpPr>
            <p:cNvPr id="10" name="Group 9"/>
            <p:cNvGrpSpPr/>
            <p:nvPr/>
          </p:nvGrpSpPr>
          <p:grpSpPr>
            <a:xfrm>
              <a:off x="442913" y="1270800"/>
              <a:ext cx="11306175" cy="296711"/>
              <a:chOff x="442913" y="1341438"/>
              <a:chExt cx="11306175" cy="296711"/>
            </a:xfrm>
          </p:grpSpPr>
          <p:cxnSp>
            <p:nvCxnSpPr>
              <p:cNvPr id="11" name="Straight Connector 10"/>
              <p:cNvCxnSpPr/>
              <p:nvPr/>
            </p:nvCxnSpPr>
            <p:spPr>
              <a:xfrm>
                <a:off x="442913" y="1632477"/>
                <a:ext cx="11306175" cy="0"/>
              </a:xfrm>
              <a:prstGeom prst="line">
                <a:avLst/>
              </a:prstGeom>
              <a:ln w="127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42913" y="1341438"/>
                <a:ext cx="11306175" cy="296711"/>
              </a:xfrm>
              <a:prstGeom prst="rect">
                <a:avLst/>
              </a:prstGeom>
              <a:noFill/>
            </p:spPr>
            <p:txBody>
              <a:bodyPr wrap="square" lIns="0" tIns="0" rIns="0" bIns="0" rtlCol="0" anchor="ctr" anchorCtr="0">
                <a:noAutofit/>
              </a:bodyPr>
              <a:lstStyle/>
              <a:p>
                <a:r>
                  <a:rPr lang="en-GB" sz="1013" b="1" dirty="0">
                    <a:solidFill>
                      <a:schemeClr val="accent2"/>
                    </a:solidFill>
                  </a:rPr>
                  <a:t>Green Mountain Power Residential Energy Storage Offering</a:t>
                </a:r>
              </a:p>
            </p:txBody>
          </p:sp>
        </p:grpSp>
      </p:grpSp>
    </p:spTree>
    <p:extLst>
      <p:ext uri="{BB962C8B-B14F-4D97-AF65-F5344CB8AC3E}">
        <p14:creationId xmlns:p14="http://schemas.microsoft.com/office/powerpoint/2010/main" val="5905391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B_KC07UFkKXtpJGt8fmE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B_KC07UFkKXtpJGt8fm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bv1fyRg06Yq1xJTS_16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4xJ3DvUD06xBROeXvEt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hfOVAs6y0mtN6XGJ_Eb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hfOVAs6y0mtN6XGJ_Eb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tEGYTIHN0yaYXtV3Yiu0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tEYK6PlbEC.n0n8c.G8p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EuIzPjx6z0aOoeJH_sYg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8ME_HZPrkW8DE94p_fSY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EuIzPjx6z0aOoeJH_sYg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bv1fyRg06Yq1xJTS_16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8ME_HZPrkW8DE94p_fSY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8ME_HZPrkW8DE94p_fS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EuIzPjx6z0aOoeJH_sYg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8ME_HZPrkW8DE94p_fSY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8ME_HZPrkW8DE94p_fSY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EuIzPjx6z0aOoeJH_sYgV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8ME_HZPrkW8DE94p_fS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8ME_HZPrkW8DE94p_fSY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EuIzPjx6z0aOoeJH_sYgV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8ME_HZPrkW8DE94p_fS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4xJ3DvUD06xBROeXvEtJ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8ME_HZPrkW8DE94p_fSY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EuIzPjx6z0aOoeJH_sYg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8ME_HZPrkW8DE94p_fSY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8ME_HZPrkW8DE94p_fS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EuIzPjx6z0aOoeJH_sYgV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8ME_HZPrkW8DE94p_fS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8ME_HZPrkW8DE94p_fSY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EuIzPjx6z0aOoeJH_sYg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8ME_HZPrkW8DE94p_fS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XqgRD.XZkuCha62p9zO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GcWWHkKsEu9M4xiP2ZR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YvqhJ.HO06WlXn25G6L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ysf5YCC40.Su2p57mvR4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tEGYTIHN0yaYXtV3Yiu0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tEGYTIHN0yaYXtV3Yiu0w"/>
</p:tagLst>
</file>

<file path=ppt/theme/theme1.xml><?xml version="1.0" encoding="utf-8"?>
<a:theme xmlns:a="http://schemas.openxmlformats.org/drawingml/2006/main" name="Dark Blue">
  <a:themeElements>
    <a:clrScheme name="slidemodel.com">
      <a:dk1>
        <a:sysClr val="windowText" lastClr="000000"/>
      </a:dk1>
      <a:lt1>
        <a:sysClr val="window" lastClr="FFFFFF"/>
      </a:lt1>
      <a:dk2>
        <a:srgbClr val="1F497D"/>
      </a:dk2>
      <a:lt2>
        <a:srgbClr val="EEECE1"/>
      </a:lt2>
      <a:accent1>
        <a:srgbClr val="0779B7"/>
      </a:accent1>
      <a:accent2>
        <a:srgbClr val="019ADD"/>
      </a:accent2>
      <a:accent3>
        <a:srgbClr val="6BC2ED"/>
      </a:accent3>
      <a:accent4>
        <a:srgbClr val="A7CCDF"/>
      </a:accent4>
      <a:accent5>
        <a:srgbClr val="595959"/>
      </a:accent5>
      <a:accent6>
        <a:srgbClr val="3F3F3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3" id="{27AEC201-2D4D-4A5F-A5E1-127A2925D8A4}" vid="{01F8D611-A62E-4759-9D08-27D94A76665A}"/>
    </a:ext>
  </a:extLst>
</a:theme>
</file>

<file path=ppt/theme/theme2.xml><?xml version="1.0" encoding="utf-8"?>
<a:theme xmlns:a="http://schemas.openxmlformats.org/drawingml/2006/main" name="Conten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3" id="{27AEC201-2D4D-4A5F-A5E1-127A2925D8A4}" vid="{69F8A102-54E6-4736-A921-5023DB4342C6}"/>
    </a:ext>
  </a:extLst>
</a:theme>
</file>

<file path=ppt/theme/theme3.xml><?xml version="1.0" encoding="utf-8"?>
<a:theme xmlns:a="http://schemas.openxmlformats.org/drawingml/2006/main" name="GTM Wide Screen Template">
  <a:themeElements>
    <a:clrScheme name="GTM">
      <a:dk1>
        <a:srgbClr val="0F2B4B"/>
      </a:dk1>
      <a:lt1>
        <a:sysClr val="window" lastClr="FFFFFF"/>
      </a:lt1>
      <a:dk2>
        <a:srgbClr val="748597"/>
      </a:dk2>
      <a:lt2>
        <a:srgbClr val="8CA3B5"/>
      </a:lt2>
      <a:accent1>
        <a:srgbClr val="0C56A6"/>
      </a:accent1>
      <a:accent2>
        <a:srgbClr val="69A5D6"/>
      </a:accent2>
      <a:accent3>
        <a:srgbClr val="B2CC6D"/>
      </a:accent3>
      <a:accent4>
        <a:srgbClr val="94AA5E"/>
      </a:accent4>
      <a:accent5>
        <a:srgbClr val="DBA880"/>
      </a:accent5>
      <a:accent6>
        <a:srgbClr val="E38825"/>
      </a:accent6>
      <a:hlink>
        <a:srgbClr val="0F2B4B"/>
      </a:hlink>
      <a:folHlink>
        <a:srgbClr val="0F2B4B"/>
      </a:folHlink>
    </a:clrScheme>
    <a:fontScheme name="GTM">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lIns="54000" tIns="54000" rIns="54000" bIns="5400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a:defPPr>
      </a:lstStyle>
    </a:txDef>
  </a:objectDefaults>
  <a:extraClrSchemeLst/>
  <a:extLst>
    <a:ext uri="{05A4C25C-085E-4340-85A3-A5531E510DB2}">
      <thm15:themeFamily xmlns:thm15="http://schemas.microsoft.com/office/thememl/2012/main" name="GTM Wide Screen Template.potx" id="{F843ECD8-49D7-490F-A830-BFD3AE71B516}" vid="{AF0D28AD-2CEF-4343-96F6-0CE60374449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YPA Strategy PowerPoint Template vF</Template>
  <TotalTime>2976</TotalTime>
  <Words>1662</Words>
  <Application>Microsoft Office PowerPoint</Application>
  <PresentationFormat>On-screen Show (16:9)</PresentationFormat>
  <Paragraphs>234</Paragraphs>
  <Slides>8</Slides>
  <Notes>3</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8</vt:i4>
      </vt:variant>
    </vt:vector>
  </HeadingPairs>
  <TitlesOfParts>
    <vt:vector size="17" baseType="lpstr">
      <vt:lpstr>宋体</vt:lpstr>
      <vt:lpstr>Arial</vt:lpstr>
      <vt:lpstr>Calibri</vt:lpstr>
      <vt:lpstr>Calibri Light</vt:lpstr>
      <vt:lpstr>Courier New</vt:lpstr>
      <vt:lpstr>Wingdings</vt:lpstr>
      <vt:lpstr>Dark Blue</vt:lpstr>
      <vt:lpstr>Content</vt:lpstr>
      <vt:lpstr>GTM Wide Screen Template</vt:lpstr>
      <vt:lpstr>Section III Update – February 8, 2017</vt:lpstr>
      <vt:lpstr>Workstream 3: Market &amp; Technology Research</vt:lpstr>
      <vt:lpstr>Initial Business Model Examples</vt:lpstr>
      <vt:lpstr>Traditional DER Business Models Leveraging Wholesale Value</vt:lpstr>
      <vt:lpstr>Dispatchable DERs Can Provide Value Across All Levels of the Grid</vt:lpstr>
      <vt:lpstr>New York is Laying the Groundwork for Distributed Energy Resources in Wholesale Markets</vt:lpstr>
      <vt:lpstr>The Development of the Brooklyn-Queens Demand Management (BQDM) Program </vt:lpstr>
      <vt:lpstr>Green Mountain Power Stacks Benefits to Improve Economics of Residential Energy Storag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YPA Strategy slide conventions style and format guide</dc:title>
  <dc:creator>Trivedi (Vrinda Inc.)</dc:creator>
  <cp:lastModifiedBy>Ben Kellison</cp:lastModifiedBy>
  <cp:revision>80</cp:revision>
  <cp:lastPrinted>2017-02-01T11:35:39Z</cp:lastPrinted>
  <dcterms:created xsi:type="dcterms:W3CDTF">2017-01-31T18:21:32Z</dcterms:created>
  <dcterms:modified xsi:type="dcterms:W3CDTF">2017-02-07T23:29:37Z</dcterms:modified>
</cp:coreProperties>
</file>